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EBE96B-68F0-E92E-A122-7847B6E481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52AE7F-A5DD-FBF0-165F-A711C56E80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617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0D6FEB-0AA7-442F-9A2E-3B54154DE1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9E69EE-4AE7-21FF-D978-2F28861946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F1F7C5-1841-747D-A3D0-FE7717E1FDF6}"/>
              </a:ext>
            </a:extLst>
          </p:cNvPr>
          <p:cNvSpPr/>
          <p:nvPr/>
        </p:nvSpPr>
        <p:spPr>
          <a:xfrm>
            <a:off x="11377942" y="1876023"/>
            <a:ext cx="336079" cy="3128616"/>
          </a:xfrm>
          <a:custGeom>
            <a:avLst/>
            <a:gdLst>
              <a:gd name="connsiteX0" fmla="*/ 346363 w 471054"/>
              <a:gd name="connsiteY0" fmla="*/ 138545 h 1898073"/>
              <a:gd name="connsiteX1" fmla="*/ 0 w 471054"/>
              <a:gd name="connsiteY1" fmla="*/ 1898073 h 1898073"/>
              <a:gd name="connsiteX2" fmla="*/ 110836 w 471054"/>
              <a:gd name="connsiteY2" fmla="*/ 1898073 h 1898073"/>
              <a:gd name="connsiteX3" fmla="*/ 471054 w 471054"/>
              <a:gd name="connsiteY3" fmla="*/ 0 h 1898073"/>
              <a:gd name="connsiteX4" fmla="*/ 346363 w 471054"/>
              <a:gd name="connsiteY4" fmla="*/ 138545 h 1898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054" h="1898073">
                <a:moveTo>
                  <a:pt x="346363" y="138545"/>
                </a:moveTo>
                <a:lnTo>
                  <a:pt x="0" y="1898073"/>
                </a:lnTo>
                <a:lnTo>
                  <a:pt x="110836" y="1898073"/>
                </a:lnTo>
                <a:lnTo>
                  <a:pt x="471054" y="0"/>
                </a:lnTo>
                <a:lnTo>
                  <a:pt x="346363" y="1385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BA5E7C4-D66E-CB54-E0D6-5069F4A197C8}"/>
              </a:ext>
            </a:extLst>
          </p:cNvPr>
          <p:cNvSpPr>
            <a:spLocks/>
          </p:cNvSpPr>
          <p:nvPr/>
        </p:nvSpPr>
        <p:spPr bwMode="auto">
          <a:xfrm>
            <a:off x="403635" y="1694808"/>
            <a:ext cx="9025332" cy="2093891"/>
          </a:xfrm>
          <a:custGeom>
            <a:avLst/>
            <a:gdLst>
              <a:gd name="connsiteX0" fmla="*/ 288694 w 10904803"/>
              <a:gd name="connsiteY0" fmla="*/ 361 h 1298575"/>
              <a:gd name="connsiteX1" fmla="*/ 5843485 w 10904803"/>
              <a:gd name="connsiteY1" fmla="*/ 787877 h 1298575"/>
              <a:gd name="connsiteX2" fmla="*/ 10846754 w 10904803"/>
              <a:gd name="connsiteY2" fmla="*/ 1263279 h 1298575"/>
              <a:gd name="connsiteX3" fmla="*/ 10904803 w 10904803"/>
              <a:gd name="connsiteY3" fmla="*/ 1298575 h 1298575"/>
              <a:gd name="connsiteX4" fmla="*/ 0 w 10904803"/>
              <a:gd name="connsiteY4" fmla="*/ 1298575 h 1298575"/>
              <a:gd name="connsiteX5" fmla="*/ 1311 w 10904803"/>
              <a:gd name="connsiteY5" fmla="*/ 1092939 h 1298575"/>
              <a:gd name="connsiteX6" fmla="*/ 288694 w 10904803"/>
              <a:gd name="connsiteY6" fmla="*/ 361 h 1298575"/>
              <a:gd name="connsiteX0" fmla="*/ 288694 w 10904803"/>
              <a:gd name="connsiteY0" fmla="*/ 915 h 1299129"/>
              <a:gd name="connsiteX1" fmla="*/ 7367485 w 10904803"/>
              <a:gd name="connsiteY1" fmla="*/ 386649 h 1299129"/>
              <a:gd name="connsiteX2" fmla="*/ 10846754 w 10904803"/>
              <a:gd name="connsiteY2" fmla="*/ 1263833 h 1299129"/>
              <a:gd name="connsiteX3" fmla="*/ 10904803 w 10904803"/>
              <a:gd name="connsiteY3" fmla="*/ 1299129 h 1299129"/>
              <a:gd name="connsiteX4" fmla="*/ 0 w 10904803"/>
              <a:gd name="connsiteY4" fmla="*/ 1299129 h 1299129"/>
              <a:gd name="connsiteX5" fmla="*/ 1311 w 10904803"/>
              <a:gd name="connsiteY5" fmla="*/ 1093493 h 1299129"/>
              <a:gd name="connsiteX6" fmla="*/ 288694 w 10904803"/>
              <a:gd name="connsiteY6" fmla="*/ 915 h 1299129"/>
              <a:gd name="connsiteX0" fmla="*/ 288694 w 10904803"/>
              <a:gd name="connsiteY0" fmla="*/ 695 h 1298909"/>
              <a:gd name="connsiteX1" fmla="*/ 7103662 w 10904803"/>
              <a:gd name="connsiteY1" fmla="*/ 469556 h 1298909"/>
              <a:gd name="connsiteX2" fmla="*/ 10846754 w 10904803"/>
              <a:gd name="connsiteY2" fmla="*/ 1263613 h 1298909"/>
              <a:gd name="connsiteX3" fmla="*/ 10904803 w 10904803"/>
              <a:gd name="connsiteY3" fmla="*/ 1298909 h 1298909"/>
              <a:gd name="connsiteX4" fmla="*/ 0 w 10904803"/>
              <a:gd name="connsiteY4" fmla="*/ 1298909 h 1298909"/>
              <a:gd name="connsiteX5" fmla="*/ 1311 w 10904803"/>
              <a:gd name="connsiteY5" fmla="*/ 1093273 h 1298909"/>
              <a:gd name="connsiteX6" fmla="*/ 288694 w 10904803"/>
              <a:gd name="connsiteY6" fmla="*/ 695 h 1298909"/>
              <a:gd name="connsiteX0" fmla="*/ 288694 w 10904803"/>
              <a:gd name="connsiteY0" fmla="*/ 671 h 1298885"/>
              <a:gd name="connsiteX1" fmla="*/ 7103662 w 10904803"/>
              <a:gd name="connsiteY1" fmla="*/ 469532 h 1298885"/>
              <a:gd name="connsiteX2" fmla="*/ 9883012 w 10904803"/>
              <a:gd name="connsiteY2" fmla="*/ 867804 h 1298885"/>
              <a:gd name="connsiteX3" fmla="*/ 10904803 w 10904803"/>
              <a:gd name="connsiteY3" fmla="*/ 1298885 h 1298885"/>
              <a:gd name="connsiteX4" fmla="*/ 0 w 10904803"/>
              <a:gd name="connsiteY4" fmla="*/ 1298885 h 1298885"/>
              <a:gd name="connsiteX5" fmla="*/ 1311 w 10904803"/>
              <a:gd name="connsiteY5" fmla="*/ 1093249 h 1298885"/>
              <a:gd name="connsiteX6" fmla="*/ 288694 w 10904803"/>
              <a:gd name="connsiteY6" fmla="*/ 671 h 1298885"/>
              <a:gd name="connsiteX0" fmla="*/ 288694 w 10904803"/>
              <a:gd name="connsiteY0" fmla="*/ 671 h 1298885"/>
              <a:gd name="connsiteX1" fmla="*/ 7103662 w 10904803"/>
              <a:gd name="connsiteY1" fmla="*/ 469532 h 1298885"/>
              <a:gd name="connsiteX2" fmla="*/ 9883012 w 10904803"/>
              <a:gd name="connsiteY2" fmla="*/ 867804 h 1298885"/>
              <a:gd name="connsiteX3" fmla="*/ 10904803 w 10904803"/>
              <a:gd name="connsiteY3" fmla="*/ 1298885 h 1298885"/>
              <a:gd name="connsiteX4" fmla="*/ 0 w 10904803"/>
              <a:gd name="connsiteY4" fmla="*/ 1298885 h 1298885"/>
              <a:gd name="connsiteX5" fmla="*/ 1311 w 10904803"/>
              <a:gd name="connsiteY5" fmla="*/ 1093249 h 1298885"/>
              <a:gd name="connsiteX6" fmla="*/ 288694 w 10904803"/>
              <a:gd name="connsiteY6" fmla="*/ 671 h 1298885"/>
              <a:gd name="connsiteX0" fmla="*/ 288694 w 10904803"/>
              <a:gd name="connsiteY0" fmla="*/ 3021 h 1301235"/>
              <a:gd name="connsiteX1" fmla="*/ 6781212 w 10904803"/>
              <a:gd name="connsiteY1" fmla="*/ 190529 h 1301235"/>
              <a:gd name="connsiteX2" fmla="*/ 9883012 w 10904803"/>
              <a:gd name="connsiteY2" fmla="*/ 870154 h 1301235"/>
              <a:gd name="connsiteX3" fmla="*/ 10904803 w 10904803"/>
              <a:gd name="connsiteY3" fmla="*/ 1301235 h 1301235"/>
              <a:gd name="connsiteX4" fmla="*/ 0 w 10904803"/>
              <a:gd name="connsiteY4" fmla="*/ 1301235 h 1301235"/>
              <a:gd name="connsiteX5" fmla="*/ 1311 w 10904803"/>
              <a:gd name="connsiteY5" fmla="*/ 1095599 h 1301235"/>
              <a:gd name="connsiteX6" fmla="*/ 288694 w 10904803"/>
              <a:gd name="connsiteY6" fmla="*/ 3021 h 1301235"/>
              <a:gd name="connsiteX0" fmla="*/ 669173 w 10904803"/>
              <a:gd name="connsiteY0" fmla="*/ 8922 h 1230133"/>
              <a:gd name="connsiteX1" fmla="*/ 6781212 w 10904803"/>
              <a:gd name="connsiteY1" fmla="*/ 119427 h 1230133"/>
              <a:gd name="connsiteX2" fmla="*/ 9883012 w 10904803"/>
              <a:gd name="connsiteY2" fmla="*/ 799052 h 1230133"/>
              <a:gd name="connsiteX3" fmla="*/ 10904803 w 10904803"/>
              <a:gd name="connsiteY3" fmla="*/ 1230133 h 1230133"/>
              <a:gd name="connsiteX4" fmla="*/ 0 w 10904803"/>
              <a:gd name="connsiteY4" fmla="*/ 1230133 h 1230133"/>
              <a:gd name="connsiteX5" fmla="*/ 1311 w 10904803"/>
              <a:gd name="connsiteY5" fmla="*/ 1024497 h 1230133"/>
              <a:gd name="connsiteX6" fmla="*/ 669173 w 10904803"/>
              <a:gd name="connsiteY6" fmla="*/ 8922 h 1230133"/>
              <a:gd name="connsiteX0" fmla="*/ 669173 w 10904803"/>
              <a:gd name="connsiteY0" fmla="*/ 8922 h 1230133"/>
              <a:gd name="connsiteX1" fmla="*/ 6781212 w 10904803"/>
              <a:gd name="connsiteY1" fmla="*/ 119427 h 1230133"/>
              <a:gd name="connsiteX2" fmla="*/ 9883012 w 10904803"/>
              <a:gd name="connsiteY2" fmla="*/ 799052 h 1230133"/>
              <a:gd name="connsiteX3" fmla="*/ 10904803 w 10904803"/>
              <a:gd name="connsiteY3" fmla="*/ 1230133 h 1230133"/>
              <a:gd name="connsiteX4" fmla="*/ 0 w 10904803"/>
              <a:gd name="connsiteY4" fmla="*/ 1230133 h 1230133"/>
              <a:gd name="connsiteX5" fmla="*/ 1311 w 10904803"/>
              <a:gd name="connsiteY5" fmla="*/ 1024497 h 1230133"/>
              <a:gd name="connsiteX6" fmla="*/ 669173 w 10904803"/>
              <a:gd name="connsiteY6" fmla="*/ 8922 h 1230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04803" h="1230133">
                <a:moveTo>
                  <a:pt x="669173" y="8922"/>
                </a:moveTo>
                <a:cubicBezTo>
                  <a:pt x="3460245" y="-8897"/>
                  <a:pt x="5245572" y="-12261"/>
                  <a:pt x="6781212" y="119427"/>
                </a:cubicBezTo>
                <a:cubicBezTo>
                  <a:pt x="8316852" y="251115"/>
                  <a:pt x="9377646" y="656839"/>
                  <a:pt x="9883012" y="799052"/>
                </a:cubicBezTo>
                <a:lnTo>
                  <a:pt x="10904803" y="1230133"/>
                </a:lnTo>
                <a:lnTo>
                  <a:pt x="0" y="1230133"/>
                </a:lnTo>
                <a:lnTo>
                  <a:pt x="1311" y="1024497"/>
                </a:lnTo>
                <a:cubicBezTo>
                  <a:pt x="13338" y="515211"/>
                  <a:pt x="29158" y="13382"/>
                  <a:pt x="669173" y="8922"/>
                </a:cubicBezTo>
                <a:close/>
              </a:path>
            </a:pathLst>
          </a:custGeom>
          <a:solidFill>
            <a:schemeClr val="accent1">
              <a:lumMod val="75000"/>
              <a:alpha val="84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defTabSz="457189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1788B0-A8B8-F8ED-758D-933C57EB6B05}"/>
              </a:ext>
            </a:extLst>
          </p:cNvPr>
          <p:cNvSpPr txBox="1"/>
          <p:nvPr/>
        </p:nvSpPr>
        <p:spPr>
          <a:xfrm>
            <a:off x="818431" y="2004357"/>
            <a:ext cx="2987997" cy="55399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  <a:latin typeface="+mj-lt"/>
              </a:rPr>
              <a:t>Planejamento estratégico </a:t>
            </a:r>
            <a:br>
              <a:rPr lang="pt-BR" sz="1800" dirty="0">
                <a:solidFill>
                  <a:schemeClr val="bg1"/>
                </a:solidFill>
                <a:latin typeface="+mj-lt"/>
              </a:rPr>
            </a:br>
            <a:r>
              <a:rPr lang="pt-BR" sz="1800" dirty="0">
                <a:solidFill>
                  <a:schemeClr val="bg1"/>
                </a:solidFill>
                <a:latin typeface="+mj-lt"/>
              </a:rPr>
              <a:t>de Tecnologia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11CB54CA-F5DE-CDC9-B3AA-22793D14C732}"/>
              </a:ext>
            </a:extLst>
          </p:cNvPr>
          <p:cNvSpPr>
            <a:spLocks/>
          </p:cNvSpPr>
          <p:nvPr/>
        </p:nvSpPr>
        <p:spPr bwMode="auto">
          <a:xfrm>
            <a:off x="5901634" y="1694808"/>
            <a:ext cx="5879798" cy="2093889"/>
          </a:xfrm>
          <a:custGeom>
            <a:avLst/>
            <a:gdLst>
              <a:gd name="connsiteX0" fmla="*/ 10805067 w 10805067"/>
              <a:gd name="connsiteY0" fmla="*/ 0 h 1264690"/>
              <a:gd name="connsiteX1" fmla="*/ 10805067 w 10805067"/>
              <a:gd name="connsiteY1" fmla="*/ 1264690 h 1264690"/>
              <a:gd name="connsiteX2" fmla="*/ 0 w 10805067"/>
              <a:gd name="connsiteY2" fmla="*/ 1264690 h 1264690"/>
              <a:gd name="connsiteX3" fmla="*/ 81691 w 10805067"/>
              <a:gd name="connsiteY3" fmla="*/ 1240458 h 1264690"/>
              <a:gd name="connsiteX4" fmla="*/ 1998798 w 10805067"/>
              <a:gd name="connsiteY4" fmla="*/ 1005089 h 1264690"/>
              <a:gd name="connsiteX5" fmla="*/ 3204937 w 10805067"/>
              <a:gd name="connsiteY5" fmla="*/ 585015 h 1264690"/>
              <a:gd name="connsiteX6" fmla="*/ 9973628 w 10805067"/>
              <a:gd name="connsiteY6" fmla="*/ 15377 h 1264690"/>
              <a:gd name="connsiteX0" fmla="*/ 10805067 w 10805067"/>
              <a:gd name="connsiteY0" fmla="*/ 0 h 1264690"/>
              <a:gd name="connsiteX1" fmla="*/ 10805067 w 10805067"/>
              <a:gd name="connsiteY1" fmla="*/ 1264690 h 1264690"/>
              <a:gd name="connsiteX2" fmla="*/ 0 w 10805067"/>
              <a:gd name="connsiteY2" fmla="*/ 1264690 h 1264690"/>
              <a:gd name="connsiteX3" fmla="*/ 81691 w 10805067"/>
              <a:gd name="connsiteY3" fmla="*/ 1240458 h 1264690"/>
              <a:gd name="connsiteX4" fmla="*/ 1510054 w 10805067"/>
              <a:gd name="connsiteY4" fmla="*/ 852689 h 1264690"/>
              <a:gd name="connsiteX5" fmla="*/ 3204937 w 10805067"/>
              <a:gd name="connsiteY5" fmla="*/ 585015 h 1264690"/>
              <a:gd name="connsiteX6" fmla="*/ 9973628 w 10805067"/>
              <a:gd name="connsiteY6" fmla="*/ 15377 h 1264690"/>
              <a:gd name="connsiteX7" fmla="*/ 10805067 w 10805067"/>
              <a:gd name="connsiteY7" fmla="*/ 0 h 1264690"/>
              <a:gd name="connsiteX0" fmla="*/ 10805067 w 10805067"/>
              <a:gd name="connsiteY0" fmla="*/ 0 h 1264690"/>
              <a:gd name="connsiteX1" fmla="*/ 10805067 w 10805067"/>
              <a:gd name="connsiteY1" fmla="*/ 1264690 h 1264690"/>
              <a:gd name="connsiteX2" fmla="*/ 0 w 10805067"/>
              <a:gd name="connsiteY2" fmla="*/ 1264690 h 1264690"/>
              <a:gd name="connsiteX3" fmla="*/ 81691 w 10805067"/>
              <a:gd name="connsiteY3" fmla="*/ 1240458 h 1264690"/>
              <a:gd name="connsiteX4" fmla="*/ 1510054 w 10805067"/>
              <a:gd name="connsiteY4" fmla="*/ 852689 h 1264690"/>
              <a:gd name="connsiteX5" fmla="*/ 3492433 w 10805067"/>
              <a:gd name="connsiteY5" fmla="*/ 467784 h 1264690"/>
              <a:gd name="connsiteX6" fmla="*/ 9973628 w 10805067"/>
              <a:gd name="connsiteY6" fmla="*/ 15377 h 1264690"/>
              <a:gd name="connsiteX7" fmla="*/ 10805067 w 10805067"/>
              <a:gd name="connsiteY7" fmla="*/ 0 h 1264690"/>
              <a:gd name="connsiteX0" fmla="*/ 10805067 w 10805067"/>
              <a:gd name="connsiteY0" fmla="*/ 31516 h 1249313"/>
              <a:gd name="connsiteX1" fmla="*/ 10805067 w 10805067"/>
              <a:gd name="connsiteY1" fmla="*/ 1249313 h 1249313"/>
              <a:gd name="connsiteX2" fmla="*/ 0 w 10805067"/>
              <a:gd name="connsiteY2" fmla="*/ 1249313 h 1249313"/>
              <a:gd name="connsiteX3" fmla="*/ 81691 w 10805067"/>
              <a:gd name="connsiteY3" fmla="*/ 1225081 h 1249313"/>
              <a:gd name="connsiteX4" fmla="*/ 1510054 w 10805067"/>
              <a:gd name="connsiteY4" fmla="*/ 837312 h 1249313"/>
              <a:gd name="connsiteX5" fmla="*/ 3492433 w 10805067"/>
              <a:gd name="connsiteY5" fmla="*/ 452407 h 1249313"/>
              <a:gd name="connsiteX6" fmla="*/ 9973628 w 10805067"/>
              <a:gd name="connsiteY6" fmla="*/ 0 h 1249313"/>
              <a:gd name="connsiteX7" fmla="*/ 10805067 w 10805067"/>
              <a:gd name="connsiteY7" fmla="*/ 31516 h 1249313"/>
              <a:gd name="connsiteX0" fmla="*/ 10805067 w 10805067"/>
              <a:gd name="connsiteY0" fmla="*/ 0 h 1217797"/>
              <a:gd name="connsiteX1" fmla="*/ 10805067 w 10805067"/>
              <a:gd name="connsiteY1" fmla="*/ 1217797 h 1217797"/>
              <a:gd name="connsiteX2" fmla="*/ 0 w 10805067"/>
              <a:gd name="connsiteY2" fmla="*/ 1217797 h 1217797"/>
              <a:gd name="connsiteX3" fmla="*/ 81691 w 10805067"/>
              <a:gd name="connsiteY3" fmla="*/ 1193565 h 1217797"/>
              <a:gd name="connsiteX4" fmla="*/ 1510054 w 10805067"/>
              <a:gd name="connsiteY4" fmla="*/ 805796 h 1217797"/>
              <a:gd name="connsiteX5" fmla="*/ 3492433 w 10805067"/>
              <a:gd name="connsiteY5" fmla="*/ 420891 h 1217797"/>
              <a:gd name="connsiteX6" fmla="*/ 9729256 w 10805067"/>
              <a:gd name="connsiteY6" fmla="*/ 261560 h 1217797"/>
              <a:gd name="connsiteX7" fmla="*/ 10805067 w 10805067"/>
              <a:gd name="connsiteY7" fmla="*/ 0 h 1217797"/>
              <a:gd name="connsiteX0" fmla="*/ 10805067 w 10805067"/>
              <a:gd name="connsiteY0" fmla="*/ 0 h 1428813"/>
              <a:gd name="connsiteX1" fmla="*/ 10805067 w 10805067"/>
              <a:gd name="connsiteY1" fmla="*/ 1428813 h 1428813"/>
              <a:gd name="connsiteX2" fmla="*/ 0 w 10805067"/>
              <a:gd name="connsiteY2" fmla="*/ 1428813 h 1428813"/>
              <a:gd name="connsiteX3" fmla="*/ 81691 w 10805067"/>
              <a:gd name="connsiteY3" fmla="*/ 1404581 h 1428813"/>
              <a:gd name="connsiteX4" fmla="*/ 1510054 w 10805067"/>
              <a:gd name="connsiteY4" fmla="*/ 1016812 h 1428813"/>
              <a:gd name="connsiteX5" fmla="*/ 3492433 w 10805067"/>
              <a:gd name="connsiteY5" fmla="*/ 631907 h 1428813"/>
              <a:gd name="connsiteX6" fmla="*/ 9729256 w 10805067"/>
              <a:gd name="connsiteY6" fmla="*/ 472576 h 1428813"/>
              <a:gd name="connsiteX7" fmla="*/ 10805067 w 10805067"/>
              <a:gd name="connsiteY7" fmla="*/ 0 h 1428813"/>
              <a:gd name="connsiteX0" fmla="*/ 10805067 w 10805067"/>
              <a:gd name="connsiteY0" fmla="*/ 0 h 1428813"/>
              <a:gd name="connsiteX1" fmla="*/ 10805067 w 10805067"/>
              <a:gd name="connsiteY1" fmla="*/ 1428813 h 1428813"/>
              <a:gd name="connsiteX2" fmla="*/ 0 w 10805067"/>
              <a:gd name="connsiteY2" fmla="*/ 1428813 h 1428813"/>
              <a:gd name="connsiteX3" fmla="*/ 81691 w 10805067"/>
              <a:gd name="connsiteY3" fmla="*/ 1404581 h 1428813"/>
              <a:gd name="connsiteX4" fmla="*/ 1510054 w 10805067"/>
              <a:gd name="connsiteY4" fmla="*/ 1016812 h 1428813"/>
              <a:gd name="connsiteX5" fmla="*/ 3492433 w 10805067"/>
              <a:gd name="connsiteY5" fmla="*/ 631907 h 1428813"/>
              <a:gd name="connsiteX6" fmla="*/ 9585508 w 10805067"/>
              <a:gd name="connsiteY6" fmla="*/ 496022 h 1428813"/>
              <a:gd name="connsiteX7" fmla="*/ 10805067 w 10805067"/>
              <a:gd name="connsiteY7" fmla="*/ 0 h 1428813"/>
              <a:gd name="connsiteX0" fmla="*/ 10805067 w 10805067"/>
              <a:gd name="connsiteY0" fmla="*/ 0 h 1428813"/>
              <a:gd name="connsiteX1" fmla="*/ 10805067 w 10805067"/>
              <a:gd name="connsiteY1" fmla="*/ 1428813 h 1428813"/>
              <a:gd name="connsiteX2" fmla="*/ 0 w 10805067"/>
              <a:gd name="connsiteY2" fmla="*/ 1428813 h 1428813"/>
              <a:gd name="connsiteX3" fmla="*/ 81691 w 10805067"/>
              <a:gd name="connsiteY3" fmla="*/ 1404581 h 1428813"/>
              <a:gd name="connsiteX4" fmla="*/ 1510054 w 10805067"/>
              <a:gd name="connsiteY4" fmla="*/ 1016812 h 1428813"/>
              <a:gd name="connsiteX5" fmla="*/ 3492433 w 10805067"/>
              <a:gd name="connsiteY5" fmla="*/ 1112553 h 1428813"/>
              <a:gd name="connsiteX6" fmla="*/ 9585508 w 10805067"/>
              <a:gd name="connsiteY6" fmla="*/ 496022 h 1428813"/>
              <a:gd name="connsiteX7" fmla="*/ 10805067 w 10805067"/>
              <a:gd name="connsiteY7" fmla="*/ 0 h 1428813"/>
              <a:gd name="connsiteX0" fmla="*/ 10805067 w 10805067"/>
              <a:gd name="connsiteY0" fmla="*/ 0 h 1428813"/>
              <a:gd name="connsiteX1" fmla="*/ 10805067 w 10805067"/>
              <a:gd name="connsiteY1" fmla="*/ 1428813 h 1428813"/>
              <a:gd name="connsiteX2" fmla="*/ 0 w 10805067"/>
              <a:gd name="connsiteY2" fmla="*/ 1428813 h 1428813"/>
              <a:gd name="connsiteX3" fmla="*/ 81691 w 10805067"/>
              <a:gd name="connsiteY3" fmla="*/ 1404581 h 1428813"/>
              <a:gd name="connsiteX4" fmla="*/ 1625051 w 10805067"/>
              <a:gd name="connsiteY4" fmla="*/ 629951 h 1428813"/>
              <a:gd name="connsiteX5" fmla="*/ 3492433 w 10805067"/>
              <a:gd name="connsiteY5" fmla="*/ 1112553 h 1428813"/>
              <a:gd name="connsiteX6" fmla="*/ 9585508 w 10805067"/>
              <a:gd name="connsiteY6" fmla="*/ 496022 h 1428813"/>
              <a:gd name="connsiteX7" fmla="*/ 10805067 w 10805067"/>
              <a:gd name="connsiteY7" fmla="*/ 0 h 1428813"/>
              <a:gd name="connsiteX0" fmla="*/ 10805067 w 10805067"/>
              <a:gd name="connsiteY0" fmla="*/ 0 h 1428813"/>
              <a:gd name="connsiteX1" fmla="*/ 10805067 w 10805067"/>
              <a:gd name="connsiteY1" fmla="*/ 1428813 h 1428813"/>
              <a:gd name="connsiteX2" fmla="*/ 0 w 10805067"/>
              <a:gd name="connsiteY2" fmla="*/ 1428813 h 1428813"/>
              <a:gd name="connsiteX3" fmla="*/ 81691 w 10805067"/>
              <a:gd name="connsiteY3" fmla="*/ 1404581 h 1428813"/>
              <a:gd name="connsiteX4" fmla="*/ 1625051 w 10805067"/>
              <a:gd name="connsiteY4" fmla="*/ 629951 h 1428813"/>
              <a:gd name="connsiteX5" fmla="*/ 3492433 w 10805067"/>
              <a:gd name="connsiteY5" fmla="*/ 1112553 h 1428813"/>
              <a:gd name="connsiteX6" fmla="*/ 9585508 w 10805067"/>
              <a:gd name="connsiteY6" fmla="*/ 496022 h 1428813"/>
              <a:gd name="connsiteX7" fmla="*/ 10805067 w 10805067"/>
              <a:gd name="connsiteY7" fmla="*/ 0 h 1428813"/>
              <a:gd name="connsiteX0" fmla="*/ 10805067 w 10805067"/>
              <a:gd name="connsiteY0" fmla="*/ 0 h 1428813"/>
              <a:gd name="connsiteX1" fmla="*/ 10805067 w 10805067"/>
              <a:gd name="connsiteY1" fmla="*/ 1428813 h 1428813"/>
              <a:gd name="connsiteX2" fmla="*/ 0 w 10805067"/>
              <a:gd name="connsiteY2" fmla="*/ 1428813 h 1428813"/>
              <a:gd name="connsiteX3" fmla="*/ 81691 w 10805067"/>
              <a:gd name="connsiteY3" fmla="*/ 1404581 h 1428813"/>
              <a:gd name="connsiteX4" fmla="*/ 1625051 w 10805067"/>
              <a:gd name="connsiteY4" fmla="*/ 629951 h 1428813"/>
              <a:gd name="connsiteX5" fmla="*/ 3938053 w 10805067"/>
              <a:gd name="connsiteY5" fmla="*/ 1030491 h 1428813"/>
              <a:gd name="connsiteX6" fmla="*/ 9585508 w 10805067"/>
              <a:gd name="connsiteY6" fmla="*/ 496022 h 1428813"/>
              <a:gd name="connsiteX7" fmla="*/ 10805067 w 10805067"/>
              <a:gd name="connsiteY7" fmla="*/ 0 h 1428813"/>
              <a:gd name="connsiteX0" fmla="*/ 11940242 w 11940242"/>
              <a:gd name="connsiteY0" fmla="*/ 0 h 1428813"/>
              <a:gd name="connsiteX1" fmla="*/ 11940242 w 11940242"/>
              <a:gd name="connsiteY1" fmla="*/ 1428813 h 1428813"/>
              <a:gd name="connsiteX2" fmla="*/ 1135175 w 11940242"/>
              <a:gd name="connsiteY2" fmla="*/ 1428813 h 1428813"/>
              <a:gd name="connsiteX3" fmla="*/ 460 w 11940242"/>
              <a:gd name="connsiteY3" fmla="*/ 1404581 h 1428813"/>
              <a:gd name="connsiteX4" fmla="*/ 2760226 w 11940242"/>
              <a:gd name="connsiteY4" fmla="*/ 629951 h 1428813"/>
              <a:gd name="connsiteX5" fmla="*/ 5073228 w 11940242"/>
              <a:gd name="connsiteY5" fmla="*/ 1030491 h 1428813"/>
              <a:gd name="connsiteX6" fmla="*/ 10720683 w 11940242"/>
              <a:gd name="connsiteY6" fmla="*/ 496022 h 1428813"/>
              <a:gd name="connsiteX7" fmla="*/ 11940242 w 11940242"/>
              <a:gd name="connsiteY7" fmla="*/ 0 h 1428813"/>
              <a:gd name="connsiteX0" fmla="*/ 11940242 w 11940242"/>
              <a:gd name="connsiteY0" fmla="*/ 0 h 1428813"/>
              <a:gd name="connsiteX1" fmla="*/ 11940242 w 11940242"/>
              <a:gd name="connsiteY1" fmla="*/ 1428813 h 1428813"/>
              <a:gd name="connsiteX2" fmla="*/ 1135175 w 11940242"/>
              <a:gd name="connsiteY2" fmla="*/ 1428813 h 1428813"/>
              <a:gd name="connsiteX3" fmla="*/ 460 w 11940242"/>
              <a:gd name="connsiteY3" fmla="*/ 1404581 h 1428813"/>
              <a:gd name="connsiteX4" fmla="*/ 2760226 w 11940242"/>
              <a:gd name="connsiteY4" fmla="*/ 629951 h 1428813"/>
              <a:gd name="connsiteX5" fmla="*/ 5073228 w 11940242"/>
              <a:gd name="connsiteY5" fmla="*/ 1030491 h 1428813"/>
              <a:gd name="connsiteX6" fmla="*/ 10720683 w 11940242"/>
              <a:gd name="connsiteY6" fmla="*/ 496022 h 1428813"/>
              <a:gd name="connsiteX7" fmla="*/ 11940242 w 11940242"/>
              <a:gd name="connsiteY7" fmla="*/ 0 h 1428813"/>
              <a:gd name="connsiteX0" fmla="*/ 11940242 w 11940242"/>
              <a:gd name="connsiteY0" fmla="*/ 0 h 1428813"/>
              <a:gd name="connsiteX1" fmla="*/ 11940242 w 11940242"/>
              <a:gd name="connsiteY1" fmla="*/ 1428813 h 1428813"/>
              <a:gd name="connsiteX2" fmla="*/ 1135175 w 11940242"/>
              <a:gd name="connsiteY2" fmla="*/ 1428813 h 1428813"/>
              <a:gd name="connsiteX3" fmla="*/ 460 w 11940242"/>
              <a:gd name="connsiteY3" fmla="*/ 1404581 h 1428813"/>
              <a:gd name="connsiteX4" fmla="*/ 4441729 w 11940242"/>
              <a:gd name="connsiteY4" fmla="*/ 754641 h 1428813"/>
              <a:gd name="connsiteX5" fmla="*/ 5073228 w 11940242"/>
              <a:gd name="connsiteY5" fmla="*/ 1030491 h 1428813"/>
              <a:gd name="connsiteX6" fmla="*/ 10720683 w 11940242"/>
              <a:gd name="connsiteY6" fmla="*/ 496022 h 1428813"/>
              <a:gd name="connsiteX7" fmla="*/ 11940242 w 11940242"/>
              <a:gd name="connsiteY7" fmla="*/ 0 h 1428813"/>
              <a:gd name="connsiteX0" fmla="*/ 11940242 w 11940242"/>
              <a:gd name="connsiteY0" fmla="*/ 0 h 1428813"/>
              <a:gd name="connsiteX1" fmla="*/ 11940242 w 11940242"/>
              <a:gd name="connsiteY1" fmla="*/ 1428813 h 1428813"/>
              <a:gd name="connsiteX2" fmla="*/ 1135175 w 11940242"/>
              <a:gd name="connsiteY2" fmla="*/ 1428813 h 1428813"/>
              <a:gd name="connsiteX3" fmla="*/ 460 w 11940242"/>
              <a:gd name="connsiteY3" fmla="*/ 1404581 h 1428813"/>
              <a:gd name="connsiteX4" fmla="*/ 4441729 w 11940242"/>
              <a:gd name="connsiteY4" fmla="*/ 754641 h 1428813"/>
              <a:gd name="connsiteX5" fmla="*/ 6361189 w 11940242"/>
              <a:gd name="connsiteY5" fmla="*/ 711836 h 1428813"/>
              <a:gd name="connsiteX6" fmla="*/ 10720683 w 11940242"/>
              <a:gd name="connsiteY6" fmla="*/ 496022 h 1428813"/>
              <a:gd name="connsiteX7" fmla="*/ 11940242 w 11940242"/>
              <a:gd name="connsiteY7" fmla="*/ 0 h 1428813"/>
              <a:gd name="connsiteX0" fmla="*/ 11940242 w 11940242"/>
              <a:gd name="connsiteY0" fmla="*/ 0 h 1428813"/>
              <a:gd name="connsiteX1" fmla="*/ 11940242 w 11940242"/>
              <a:gd name="connsiteY1" fmla="*/ 1428813 h 1428813"/>
              <a:gd name="connsiteX2" fmla="*/ 1135175 w 11940242"/>
              <a:gd name="connsiteY2" fmla="*/ 1428813 h 1428813"/>
              <a:gd name="connsiteX3" fmla="*/ 460 w 11940242"/>
              <a:gd name="connsiteY3" fmla="*/ 1404581 h 1428813"/>
              <a:gd name="connsiteX4" fmla="*/ 4441729 w 11940242"/>
              <a:gd name="connsiteY4" fmla="*/ 754641 h 1428813"/>
              <a:gd name="connsiteX5" fmla="*/ 6361189 w 11940242"/>
              <a:gd name="connsiteY5" fmla="*/ 711836 h 1428813"/>
              <a:gd name="connsiteX6" fmla="*/ 10792237 w 11940242"/>
              <a:gd name="connsiteY6" fmla="*/ 149658 h 1428813"/>
              <a:gd name="connsiteX7" fmla="*/ 11940242 w 11940242"/>
              <a:gd name="connsiteY7" fmla="*/ 0 h 142881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441729 w 11940242"/>
              <a:gd name="connsiteY4" fmla="*/ 1031731 h 1705903"/>
              <a:gd name="connsiteX5" fmla="*/ 6361189 w 11940242"/>
              <a:gd name="connsiteY5" fmla="*/ 988926 h 1705903"/>
              <a:gd name="connsiteX6" fmla="*/ 10792237 w 11940242"/>
              <a:gd name="connsiteY6" fmla="*/ 426748 h 1705903"/>
              <a:gd name="connsiteX7" fmla="*/ 11940242 w 11940242"/>
              <a:gd name="connsiteY7" fmla="*/ 0 h 170590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441729 w 11940242"/>
              <a:gd name="connsiteY4" fmla="*/ 1031731 h 1705903"/>
              <a:gd name="connsiteX5" fmla="*/ 6361189 w 11940242"/>
              <a:gd name="connsiteY5" fmla="*/ 988926 h 1705903"/>
              <a:gd name="connsiteX6" fmla="*/ 10255586 w 11940242"/>
              <a:gd name="connsiteY6" fmla="*/ 579148 h 1705903"/>
              <a:gd name="connsiteX7" fmla="*/ 11940242 w 11940242"/>
              <a:gd name="connsiteY7" fmla="*/ 0 h 170590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441729 w 11940242"/>
              <a:gd name="connsiteY4" fmla="*/ 1031731 h 1705903"/>
              <a:gd name="connsiteX5" fmla="*/ 6361189 w 11940242"/>
              <a:gd name="connsiteY5" fmla="*/ 988926 h 1705903"/>
              <a:gd name="connsiteX6" fmla="*/ 10255586 w 11940242"/>
              <a:gd name="connsiteY6" fmla="*/ 579148 h 1705903"/>
              <a:gd name="connsiteX7" fmla="*/ 11940242 w 11940242"/>
              <a:gd name="connsiteY7" fmla="*/ 0 h 170590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155515 w 11940242"/>
              <a:gd name="connsiteY4" fmla="*/ 1031731 h 1705903"/>
              <a:gd name="connsiteX5" fmla="*/ 6361189 w 11940242"/>
              <a:gd name="connsiteY5" fmla="*/ 988926 h 1705903"/>
              <a:gd name="connsiteX6" fmla="*/ 10255586 w 11940242"/>
              <a:gd name="connsiteY6" fmla="*/ 579148 h 1705903"/>
              <a:gd name="connsiteX7" fmla="*/ 11940242 w 11940242"/>
              <a:gd name="connsiteY7" fmla="*/ 0 h 170590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155515 w 11940242"/>
              <a:gd name="connsiteY4" fmla="*/ 1031731 h 1705903"/>
              <a:gd name="connsiteX5" fmla="*/ 6361189 w 11940242"/>
              <a:gd name="connsiteY5" fmla="*/ 988926 h 1705903"/>
              <a:gd name="connsiteX6" fmla="*/ 10255586 w 11940242"/>
              <a:gd name="connsiteY6" fmla="*/ 579148 h 1705903"/>
              <a:gd name="connsiteX7" fmla="*/ 11940242 w 11940242"/>
              <a:gd name="connsiteY7" fmla="*/ 0 h 170590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155515 w 11940242"/>
              <a:gd name="connsiteY4" fmla="*/ 1031731 h 1705903"/>
              <a:gd name="connsiteX5" fmla="*/ 6361189 w 11940242"/>
              <a:gd name="connsiteY5" fmla="*/ 988926 h 1705903"/>
              <a:gd name="connsiteX6" fmla="*/ 10255586 w 11940242"/>
              <a:gd name="connsiteY6" fmla="*/ 579148 h 1705903"/>
              <a:gd name="connsiteX7" fmla="*/ 11940242 w 11940242"/>
              <a:gd name="connsiteY7" fmla="*/ 0 h 170590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155515 w 11940242"/>
              <a:gd name="connsiteY4" fmla="*/ 1031731 h 1705903"/>
              <a:gd name="connsiteX5" fmla="*/ 6361189 w 11940242"/>
              <a:gd name="connsiteY5" fmla="*/ 988926 h 1705903"/>
              <a:gd name="connsiteX6" fmla="*/ 10255586 w 11940242"/>
              <a:gd name="connsiteY6" fmla="*/ 579148 h 1705903"/>
              <a:gd name="connsiteX7" fmla="*/ 11940242 w 11940242"/>
              <a:gd name="connsiteY7" fmla="*/ 0 h 170590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155515 w 11940242"/>
              <a:gd name="connsiteY4" fmla="*/ 1031731 h 1705903"/>
              <a:gd name="connsiteX5" fmla="*/ 6361189 w 11940242"/>
              <a:gd name="connsiteY5" fmla="*/ 988926 h 1705903"/>
              <a:gd name="connsiteX6" fmla="*/ 10255586 w 11940242"/>
              <a:gd name="connsiteY6" fmla="*/ 579148 h 1705903"/>
              <a:gd name="connsiteX7" fmla="*/ 11940242 w 11940242"/>
              <a:gd name="connsiteY7" fmla="*/ 0 h 1705903"/>
              <a:gd name="connsiteX0" fmla="*/ 11940242 w 11940242"/>
              <a:gd name="connsiteY0" fmla="*/ 0 h 1705903"/>
              <a:gd name="connsiteX1" fmla="*/ 11940242 w 11940242"/>
              <a:gd name="connsiteY1" fmla="*/ 1705903 h 1705903"/>
              <a:gd name="connsiteX2" fmla="*/ 1135175 w 11940242"/>
              <a:gd name="connsiteY2" fmla="*/ 1705903 h 1705903"/>
              <a:gd name="connsiteX3" fmla="*/ 460 w 11940242"/>
              <a:gd name="connsiteY3" fmla="*/ 1681671 h 1705903"/>
              <a:gd name="connsiteX4" fmla="*/ 4155515 w 11940242"/>
              <a:gd name="connsiteY4" fmla="*/ 1031731 h 1705903"/>
              <a:gd name="connsiteX5" fmla="*/ 6718957 w 11940242"/>
              <a:gd name="connsiteY5" fmla="*/ 808816 h 1705903"/>
              <a:gd name="connsiteX6" fmla="*/ 10255586 w 11940242"/>
              <a:gd name="connsiteY6" fmla="*/ 579148 h 1705903"/>
              <a:gd name="connsiteX7" fmla="*/ 11940242 w 11940242"/>
              <a:gd name="connsiteY7" fmla="*/ 0 h 1705903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155515 w 11940242"/>
              <a:gd name="connsiteY4" fmla="*/ 546822 h 1220994"/>
              <a:gd name="connsiteX5" fmla="*/ 6718957 w 11940242"/>
              <a:gd name="connsiteY5" fmla="*/ 323907 h 1220994"/>
              <a:gd name="connsiteX6" fmla="*/ 10255586 w 11940242"/>
              <a:gd name="connsiteY6" fmla="*/ 94239 h 1220994"/>
              <a:gd name="connsiteX7" fmla="*/ 11940242 w 11940242"/>
              <a:gd name="connsiteY7" fmla="*/ 0 h 1220994"/>
              <a:gd name="connsiteX0" fmla="*/ 11940242 w 11940242"/>
              <a:gd name="connsiteY0" fmla="*/ 38760 h 1259754"/>
              <a:gd name="connsiteX1" fmla="*/ 11940242 w 11940242"/>
              <a:gd name="connsiteY1" fmla="*/ 1259754 h 1259754"/>
              <a:gd name="connsiteX2" fmla="*/ 1135175 w 11940242"/>
              <a:gd name="connsiteY2" fmla="*/ 1259754 h 1259754"/>
              <a:gd name="connsiteX3" fmla="*/ 460 w 11940242"/>
              <a:gd name="connsiteY3" fmla="*/ 1235522 h 1259754"/>
              <a:gd name="connsiteX4" fmla="*/ 4155515 w 11940242"/>
              <a:gd name="connsiteY4" fmla="*/ 585582 h 1259754"/>
              <a:gd name="connsiteX5" fmla="*/ 6718957 w 11940242"/>
              <a:gd name="connsiteY5" fmla="*/ 362667 h 1259754"/>
              <a:gd name="connsiteX6" fmla="*/ 10255586 w 11940242"/>
              <a:gd name="connsiteY6" fmla="*/ 132999 h 1259754"/>
              <a:gd name="connsiteX7" fmla="*/ 11940242 w 11940242"/>
              <a:gd name="connsiteY7" fmla="*/ 38760 h 1259754"/>
              <a:gd name="connsiteX0" fmla="*/ 11940242 w 11940242"/>
              <a:gd name="connsiteY0" fmla="*/ 8556 h 1229550"/>
              <a:gd name="connsiteX1" fmla="*/ 11940242 w 11940242"/>
              <a:gd name="connsiteY1" fmla="*/ 1229550 h 1229550"/>
              <a:gd name="connsiteX2" fmla="*/ 1135175 w 11940242"/>
              <a:gd name="connsiteY2" fmla="*/ 1229550 h 1229550"/>
              <a:gd name="connsiteX3" fmla="*/ 460 w 11940242"/>
              <a:gd name="connsiteY3" fmla="*/ 1205318 h 1229550"/>
              <a:gd name="connsiteX4" fmla="*/ 4155515 w 11940242"/>
              <a:gd name="connsiteY4" fmla="*/ 555378 h 1229550"/>
              <a:gd name="connsiteX5" fmla="*/ 6718957 w 11940242"/>
              <a:gd name="connsiteY5" fmla="*/ 332463 h 1229550"/>
              <a:gd name="connsiteX6" fmla="*/ 9593718 w 11940242"/>
              <a:gd name="connsiteY6" fmla="*/ 158213 h 1229550"/>
              <a:gd name="connsiteX7" fmla="*/ 11940242 w 11940242"/>
              <a:gd name="connsiteY7" fmla="*/ 8556 h 1229550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155515 w 11940242"/>
              <a:gd name="connsiteY4" fmla="*/ 546822 h 1220994"/>
              <a:gd name="connsiteX5" fmla="*/ 6718957 w 11940242"/>
              <a:gd name="connsiteY5" fmla="*/ 323907 h 1220994"/>
              <a:gd name="connsiteX6" fmla="*/ 9593718 w 11940242"/>
              <a:gd name="connsiteY6" fmla="*/ 149657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155515 w 11940242"/>
              <a:gd name="connsiteY4" fmla="*/ 546822 h 1220994"/>
              <a:gd name="connsiteX5" fmla="*/ 6718957 w 11940242"/>
              <a:gd name="connsiteY5" fmla="*/ 323907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155515 w 11940242"/>
              <a:gd name="connsiteY4" fmla="*/ 546822 h 1220994"/>
              <a:gd name="connsiteX5" fmla="*/ 6718957 w 11940242"/>
              <a:gd name="connsiteY5" fmla="*/ 323907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155515 w 11940242"/>
              <a:gd name="connsiteY4" fmla="*/ 546822 h 1220994"/>
              <a:gd name="connsiteX5" fmla="*/ 6718957 w 11940242"/>
              <a:gd name="connsiteY5" fmla="*/ 323907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763719 w 11940242"/>
              <a:gd name="connsiteY4" fmla="*/ 532968 h 1220994"/>
              <a:gd name="connsiteX5" fmla="*/ 6718957 w 11940242"/>
              <a:gd name="connsiteY5" fmla="*/ 323907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763719 w 11940242"/>
              <a:gd name="connsiteY4" fmla="*/ 532968 h 1220994"/>
              <a:gd name="connsiteX5" fmla="*/ 7058836 w 11940242"/>
              <a:gd name="connsiteY5" fmla="*/ 282343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763719 w 11940242"/>
              <a:gd name="connsiteY4" fmla="*/ 532968 h 1220994"/>
              <a:gd name="connsiteX5" fmla="*/ 7058836 w 11940242"/>
              <a:gd name="connsiteY5" fmla="*/ 282343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763719 w 11940242"/>
              <a:gd name="connsiteY4" fmla="*/ 532968 h 1220994"/>
              <a:gd name="connsiteX5" fmla="*/ 7255607 w 11940242"/>
              <a:gd name="connsiteY5" fmla="*/ 226925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763719 w 11940242"/>
              <a:gd name="connsiteY4" fmla="*/ 532968 h 1220994"/>
              <a:gd name="connsiteX5" fmla="*/ 7255607 w 11940242"/>
              <a:gd name="connsiteY5" fmla="*/ 226925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763719 w 11940242"/>
              <a:gd name="connsiteY4" fmla="*/ 532968 h 1220994"/>
              <a:gd name="connsiteX5" fmla="*/ 7255607 w 11940242"/>
              <a:gd name="connsiteY5" fmla="*/ 226925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763719 w 11940242"/>
              <a:gd name="connsiteY4" fmla="*/ 532968 h 1220994"/>
              <a:gd name="connsiteX5" fmla="*/ 7255607 w 11940242"/>
              <a:gd name="connsiteY5" fmla="*/ 226925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220994"/>
              <a:gd name="connsiteX1" fmla="*/ 11940242 w 11940242"/>
              <a:gd name="connsiteY1" fmla="*/ 1220994 h 1220994"/>
              <a:gd name="connsiteX2" fmla="*/ 1135175 w 11940242"/>
              <a:gd name="connsiteY2" fmla="*/ 1220994 h 1220994"/>
              <a:gd name="connsiteX3" fmla="*/ 460 w 11940242"/>
              <a:gd name="connsiteY3" fmla="*/ 1196762 h 1220994"/>
              <a:gd name="connsiteX4" fmla="*/ 4763719 w 11940242"/>
              <a:gd name="connsiteY4" fmla="*/ 532968 h 1220994"/>
              <a:gd name="connsiteX5" fmla="*/ 7255607 w 11940242"/>
              <a:gd name="connsiteY5" fmla="*/ 226925 h 1220994"/>
              <a:gd name="connsiteX6" fmla="*/ 8913962 w 11940242"/>
              <a:gd name="connsiteY6" fmla="*/ 191220 h 1220994"/>
              <a:gd name="connsiteX7" fmla="*/ 11940242 w 11940242"/>
              <a:gd name="connsiteY7" fmla="*/ 0 h 1220994"/>
              <a:gd name="connsiteX0" fmla="*/ 11940242 w 11940242"/>
              <a:gd name="connsiteY0" fmla="*/ 0 h 1345685"/>
              <a:gd name="connsiteX1" fmla="*/ 11940242 w 11940242"/>
              <a:gd name="connsiteY1" fmla="*/ 1345685 h 1345685"/>
              <a:gd name="connsiteX2" fmla="*/ 1135175 w 11940242"/>
              <a:gd name="connsiteY2" fmla="*/ 1345685 h 1345685"/>
              <a:gd name="connsiteX3" fmla="*/ 460 w 11940242"/>
              <a:gd name="connsiteY3" fmla="*/ 1321453 h 1345685"/>
              <a:gd name="connsiteX4" fmla="*/ 4763719 w 11940242"/>
              <a:gd name="connsiteY4" fmla="*/ 657659 h 1345685"/>
              <a:gd name="connsiteX5" fmla="*/ 7255607 w 11940242"/>
              <a:gd name="connsiteY5" fmla="*/ 351616 h 1345685"/>
              <a:gd name="connsiteX6" fmla="*/ 8913962 w 11940242"/>
              <a:gd name="connsiteY6" fmla="*/ 315911 h 1345685"/>
              <a:gd name="connsiteX7" fmla="*/ 11940242 w 11940242"/>
              <a:gd name="connsiteY7" fmla="*/ 0 h 1345685"/>
              <a:gd name="connsiteX0" fmla="*/ 11940242 w 11940242"/>
              <a:gd name="connsiteY0" fmla="*/ 0 h 1345685"/>
              <a:gd name="connsiteX1" fmla="*/ 11940242 w 11940242"/>
              <a:gd name="connsiteY1" fmla="*/ 1345685 h 1345685"/>
              <a:gd name="connsiteX2" fmla="*/ 1135175 w 11940242"/>
              <a:gd name="connsiteY2" fmla="*/ 1345685 h 1345685"/>
              <a:gd name="connsiteX3" fmla="*/ 460 w 11940242"/>
              <a:gd name="connsiteY3" fmla="*/ 1321453 h 1345685"/>
              <a:gd name="connsiteX4" fmla="*/ 4763719 w 11940242"/>
              <a:gd name="connsiteY4" fmla="*/ 657659 h 1345685"/>
              <a:gd name="connsiteX5" fmla="*/ 7255607 w 11940242"/>
              <a:gd name="connsiteY5" fmla="*/ 351616 h 1345685"/>
              <a:gd name="connsiteX6" fmla="*/ 8913962 w 11940242"/>
              <a:gd name="connsiteY6" fmla="*/ 315911 h 1345685"/>
              <a:gd name="connsiteX7" fmla="*/ 11940242 w 11940242"/>
              <a:gd name="connsiteY7" fmla="*/ 0 h 1345685"/>
              <a:gd name="connsiteX0" fmla="*/ 12064490 w 12064490"/>
              <a:gd name="connsiteY0" fmla="*/ 0 h 1377383"/>
              <a:gd name="connsiteX1" fmla="*/ 12064490 w 12064490"/>
              <a:gd name="connsiteY1" fmla="*/ 1345685 h 1377383"/>
              <a:gd name="connsiteX2" fmla="*/ 1259423 w 12064490"/>
              <a:gd name="connsiteY2" fmla="*/ 1345685 h 1377383"/>
              <a:gd name="connsiteX3" fmla="*/ 124708 w 12064490"/>
              <a:gd name="connsiteY3" fmla="*/ 1321453 h 1377383"/>
              <a:gd name="connsiteX4" fmla="*/ 4859990 w 12064490"/>
              <a:gd name="connsiteY4" fmla="*/ 657659 h 1377383"/>
              <a:gd name="connsiteX5" fmla="*/ 7379855 w 12064490"/>
              <a:gd name="connsiteY5" fmla="*/ 351616 h 1377383"/>
              <a:gd name="connsiteX6" fmla="*/ 9038210 w 12064490"/>
              <a:gd name="connsiteY6" fmla="*/ 315911 h 1377383"/>
              <a:gd name="connsiteX7" fmla="*/ 12064490 w 12064490"/>
              <a:gd name="connsiteY7" fmla="*/ 0 h 1377383"/>
              <a:gd name="connsiteX0" fmla="*/ 12064490 w 12064490"/>
              <a:gd name="connsiteY0" fmla="*/ 0 h 1377383"/>
              <a:gd name="connsiteX1" fmla="*/ 12064490 w 12064490"/>
              <a:gd name="connsiteY1" fmla="*/ 1345685 h 1377383"/>
              <a:gd name="connsiteX2" fmla="*/ 1259423 w 12064490"/>
              <a:gd name="connsiteY2" fmla="*/ 1345685 h 1377383"/>
              <a:gd name="connsiteX3" fmla="*/ 124708 w 12064490"/>
              <a:gd name="connsiteY3" fmla="*/ 1321453 h 1377383"/>
              <a:gd name="connsiteX4" fmla="*/ 4859990 w 12064490"/>
              <a:gd name="connsiteY4" fmla="*/ 657659 h 1377383"/>
              <a:gd name="connsiteX5" fmla="*/ 7379855 w 12064490"/>
              <a:gd name="connsiteY5" fmla="*/ 351616 h 1377383"/>
              <a:gd name="connsiteX6" fmla="*/ 9038210 w 12064490"/>
              <a:gd name="connsiteY6" fmla="*/ 315911 h 1377383"/>
              <a:gd name="connsiteX7" fmla="*/ 12064490 w 12064490"/>
              <a:gd name="connsiteY7" fmla="*/ 0 h 1377383"/>
              <a:gd name="connsiteX0" fmla="*/ 11313192 w 11313192"/>
              <a:gd name="connsiteY0" fmla="*/ 0 h 1352340"/>
              <a:gd name="connsiteX1" fmla="*/ 11313192 w 11313192"/>
              <a:gd name="connsiteY1" fmla="*/ 1345685 h 1352340"/>
              <a:gd name="connsiteX2" fmla="*/ 508125 w 11313192"/>
              <a:gd name="connsiteY2" fmla="*/ 1345685 h 1352340"/>
              <a:gd name="connsiteX3" fmla="*/ 201530 w 11313192"/>
              <a:gd name="connsiteY3" fmla="*/ 1278831 h 1352340"/>
              <a:gd name="connsiteX4" fmla="*/ 4108692 w 11313192"/>
              <a:gd name="connsiteY4" fmla="*/ 657659 h 1352340"/>
              <a:gd name="connsiteX5" fmla="*/ 6628557 w 11313192"/>
              <a:gd name="connsiteY5" fmla="*/ 351616 h 1352340"/>
              <a:gd name="connsiteX6" fmla="*/ 8286912 w 11313192"/>
              <a:gd name="connsiteY6" fmla="*/ 315911 h 1352340"/>
              <a:gd name="connsiteX7" fmla="*/ 11313192 w 11313192"/>
              <a:gd name="connsiteY7" fmla="*/ 0 h 1352340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600567 w 10805067"/>
              <a:gd name="connsiteY4" fmla="*/ 657659 h 1345685"/>
              <a:gd name="connsiteX5" fmla="*/ 6120432 w 10805067"/>
              <a:gd name="connsiteY5" fmla="*/ 351616 h 1345685"/>
              <a:gd name="connsiteX6" fmla="*/ 7778787 w 10805067"/>
              <a:gd name="connsiteY6" fmla="*/ 31591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311579 w 10805067"/>
              <a:gd name="connsiteY4" fmla="*/ 664047 h 1345685"/>
              <a:gd name="connsiteX5" fmla="*/ 6120432 w 10805067"/>
              <a:gd name="connsiteY5" fmla="*/ 351616 h 1345685"/>
              <a:gd name="connsiteX6" fmla="*/ 7778787 w 10805067"/>
              <a:gd name="connsiteY6" fmla="*/ 31591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311579 w 10805067"/>
              <a:gd name="connsiteY4" fmla="*/ 664047 h 1345685"/>
              <a:gd name="connsiteX5" fmla="*/ 6120432 w 10805067"/>
              <a:gd name="connsiteY5" fmla="*/ 351616 h 1345685"/>
              <a:gd name="connsiteX6" fmla="*/ 7778787 w 10805067"/>
              <a:gd name="connsiteY6" fmla="*/ 31591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311579 w 10805067"/>
              <a:gd name="connsiteY4" fmla="*/ 664047 h 1345685"/>
              <a:gd name="connsiteX5" fmla="*/ 6120432 w 10805067"/>
              <a:gd name="connsiteY5" fmla="*/ 351616 h 1345685"/>
              <a:gd name="connsiteX6" fmla="*/ 7778787 w 10805067"/>
              <a:gd name="connsiteY6" fmla="*/ 31591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20432 w 10805067"/>
              <a:gd name="connsiteY5" fmla="*/ 351616 h 1345685"/>
              <a:gd name="connsiteX6" fmla="*/ 7778787 w 10805067"/>
              <a:gd name="connsiteY6" fmla="*/ 31591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20432 w 10805067"/>
              <a:gd name="connsiteY5" fmla="*/ 351616 h 1345685"/>
              <a:gd name="connsiteX6" fmla="*/ 7778787 w 10805067"/>
              <a:gd name="connsiteY6" fmla="*/ 31591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34983 h 1345685"/>
              <a:gd name="connsiteX6" fmla="*/ 7778787 w 10805067"/>
              <a:gd name="connsiteY6" fmla="*/ 31591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34983 h 1345685"/>
              <a:gd name="connsiteX6" fmla="*/ 7778787 w 10805067"/>
              <a:gd name="connsiteY6" fmla="*/ 31591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34983 h 1345685"/>
              <a:gd name="connsiteX6" fmla="*/ 7778787 w 10805067"/>
              <a:gd name="connsiteY6" fmla="*/ 30205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34983 h 1345685"/>
              <a:gd name="connsiteX6" fmla="*/ 7778787 w 10805067"/>
              <a:gd name="connsiteY6" fmla="*/ 30205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21123 h 1345685"/>
              <a:gd name="connsiteX6" fmla="*/ 7778787 w 10805067"/>
              <a:gd name="connsiteY6" fmla="*/ 30205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21123 h 1345685"/>
              <a:gd name="connsiteX6" fmla="*/ 7778787 w 10805067"/>
              <a:gd name="connsiteY6" fmla="*/ 30205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21123 h 1345685"/>
              <a:gd name="connsiteX6" fmla="*/ 7778787 w 10805067"/>
              <a:gd name="connsiteY6" fmla="*/ 28819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21123 h 1345685"/>
              <a:gd name="connsiteX6" fmla="*/ 7778787 w 10805067"/>
              <a:gd name="connsiteY6" fmla="*/ 288191 h 1345685"/>
              <a:gd name="connsiteX7" fmla="*/ 10805067 w 10805067"/>
              <a:gd name="connsiteY7" fmla="*/ 0 h 1345685"/>
              <a:gd name="connsiteX0" fmla="*/ 10805067 w 10805067"/>
              <a:gd name="connsiteY0" fmla="*/ 0 h 1345685"/>
              <a:gd name="connsiteX1" fmla="*/ 10805067 w 10805067"/>
              <a:gd name="connsiteY1" fmla="*/ 1345685 h 1345685"/>
              <a:gd name="connsiteX2" fmla="*/ 0 w 10805067"/>
              <a:gd name="connsiteY2" fmla="*/ 1345685 h 1345685"/>
              <a:gd name="connsiteX3" fmla="*/ 471167 w 10805067"/>
              <a:gd name="connsiteY3" fmla="*/ 1225552 h 1345685"/>
              <a:gd name="connsiteX4" fmla="*/ 3253782 w 10805067"/>
              <a:gd name="connsiteY4" fmla="*/ 625721 h 1345685"/>
              <a:gd name="connsiteX5" fmla="*/ 6144211 w 10805067"/>
              <a:gd name="connsiteY5" fmla="*/ 321123 h 1345685"/>
              <a:gd name="connsiteX6" fmla="*/ 7778787 w 10805067"/>
              <a:gd name="connsiteY6" fmla="*/ 288191 h 1345685"/>
              <a:gd name="connsiteX7" fmla="*/ 10805067 w 10805067"/>
              <a:gd name="connsiteY7" fmla="*/ 0 h 1345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05067" h="1345685">
                <a:moveTo>
                  <a:pt x="10805067" y="0"/>
                </a:moveTo>
                <a:lnTo>
                  <a:pt x="10805067" y="1345685"/>
                </a:lnTo>
                <a:lnTo>
                  <a:pt x="0" y="1345685"/>
                </a:lnTo>
                <a:cubicBezTo>
                  <a:pt x="27230" y="1337608"/>
                  <a:pt x="-71130" y="1345546"/>
                  <a:pt x="471167" y="1225552"/>
                </a:cubicBezTo>
                <a:cubicBezTo>
                  <a:pt x="1013464" y="1105558"/>
                  <a:pt x="1675628" y="873478"/>
                  <a:pt x="3253782" y="625721"/>
                </a:cubicBezTo>
                <a:cubicBezTo>
                  <a:pt x="4888673" y="299149"/>
                  <a:pt x="5017130" y="355594"/>
                  <a:pt x="6144211" y="321123"/>
                </a:cubicBezTo>
                <a:cubicBezTo>
                  <a:pt x="7555563" y="292589"/>
                  <a:pt x="6311736" y="322264"/>
                  <a:pt x="7778787" y="288191"/>
                </a:cubicBezTo>
                <a:cubicBezTo>
                  <a:pt x="9342086" y="236465"/>
                  <a:pt x="10100408" y="262322"/>
                  <a:pt x="10805067" y="0"/>
                </a:cubicBezTo>
                <a:close/>
              </a:path>
            </a:pathLst>
          </a:custGeom>
          <a:solidFill>
            <a:schemeClr val="bg1">
              <a:lumMod val="50000"/>
              <a:alpha val="78000"/>
            </a:schemeClr>
          </a:solidFill>
          <a:ln>
            <a:noFill/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 defTabSz="457189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72DCF3-B42E-0110-069D-7184C8292C20}"/>
              </a:ext>
            </a:extLst>
          </p:cNvPr>
          <p:cNvSpPr txBox="1"/>
          <p:nvPr/>
        </p:nvSpPr>
        <p:spPr>
          <a:xfrm>
            <a:off x="9428967" y="2365888"/>
            <a:ext cx="2063721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pt-BR" sz="1600" dirty="0">
                <a:solidFill>
                  <a:schemeClr val="bg1"/>
                </a:solidFill>
                <a:latin typeface="+mj-lt"/>
              </a:rPr>
              <a:t>Execução em escala da estratégia</a:t>
            </a:r>
          </a:p>
        </p:txBody>
      </p:sp>
      <p:sp>
        <p:nvSpPr>
          <p:cNvPr id="9" name="Freeform: Shape 83">
            <a:extLst>
              <a:ext uri="{FF2B5EF4-FFF2-40B4-BE49-F238E27FC236}">
                <a16:creationId xmlns:a16="http://schemas.microsoft.com/office/drawing/2014/main" id="{D5F0D9BB-0CFC-E049-F76D-929D6D0BF675}"/>
              </a:ext>
            </a:extLst>
          </p:cNvPr>
          <p:cNvSpPr>
            <a:spLocks/>
          </p:cNvSpPr>
          <p:nvPr/>
        </p:nvSpPr>
        <p:spPr bwMode="auto">
          <a:xfrm>
            <a:off x="5901632" y="2937223"/>
            <a:ext cx="5879798" cy="839542"/>
          </a:xfrm>
          <a:custGeom>
            <a:avLst/>
            <a:gdLst>
              <a:gd name="connsiteX0" fmla="*/ 288694 w 10904803"/>
              <a:gd name="connsiteY0" fmla="*/ 361 h 1298575"/>
              <a:gd name="connsiteX1" fmla="*/ 5843485 w 10904803"/>
              <a:gd name="connsiteY1" fmla="*/ 787877 h 1298575"/>
              <a:gd name="connsiteX2" fmla="*/ 10846754 w 10904803"/>
              <a:gd name="connsiteY2" fmla="*/ 1263279 h 1298575"/>
              <a:gd name="connsiteX3" fmla="*/ 10904803 w 10904803"/>
              <a:gd name="connsiteY3" fmla="*/ 1298575 h 1298575"/>
              <a:gd name="connsiteX4" fmla="*/ 0 w 10904803"/>
              <a:gd name="connsiteY4" fmla="*/ 1298575 h 1298575"/>
              <a:gd name="connsiteX5" fmla="*/ 1311 w 10904803"/>
              <a:gd name="connsiteY5" fmla="*/ 1092939 h 1298575"/>
              <a:gd name="connsiteX6" fmla="*/ 288694 w 10904803"/>
              <a:gd name="connsiteY6" fmla="*/ 361 h 1298575"/>
              <a:gd name="connsiteX0" fmla="*/ 288694 w 10904803"/>
              <a:gd name="connsiteY0" fmla="*/ 915 h 1299129"/>
              <a:gd name="connsiteX1" fmla="*/ 7367485 w 10904803"/>
              <a:gd name="connsiteY1" fmla="*/ 386649 h 1299129"/>
              <a:gd name="connsiteX2" fmla="*/ 10846754 w 10904803"/>
              <a:gd name="connsiteY2" fmla="*/ 1263833 h 1299129"/>
              <a:gd name="connsiteX3" fmla="*/ 10904803 w 10904803"/>
              <a:gd name="connsiteY3" fmla="*/ 1299129 h 1299129"/>
              <a:gd name="connsiteX4" fmla="*/ 0 w 10904803"/>
              <a:gd name="connsiteY4" fmla="*/ 1299129 h 1299129"/>
              <a:gd name="connsiteX5" fmla="*/ 1311 w 10904803"/>
              <a:gd name="connsiteY5" fmla="*/ 1093493 h 1299129"/>
              <a:gd name="connsiteX6" fmla="*/ 288694 w 10904803"/>
              <a:gd name="connsiteY6" fmla="*/ 915 h 1299129"/>
              <a:gd name="connsiteX0" fmla="*/ 288694 w 10904803"/>
              <a:gd name="connsiteY0" fmla="*/ 695 h 1298909"/>
              <a:gd name="connsiteX1" fmla="*/ 7103662 w 10904803"/>
              <a:gd name="connsiteY1" fmla="*/ 469556 h 1298909"/>
              <a:gd name="connsiteX2" fmla="*/ 10846754 w 10904803"/>
              <a:gd name="connsiteY2" fmla="*/ 1263613 h 1298909"/>
              <a:gd name="connsiteX3" fmla="*/ 10904803 w 10904803"/>
              <a:gd name="connsiteY3" fmla="*/ 1298909 h 1298909"/>
              <a:gd name="connsiteX4" fmla="*/ 0 w 10904803"/>
              <a:gd name="connsiteY4" fmla="*/ 1298909 h 1298909"/>
              <a:gd name="connsiteX5" fmla="*/ 1311 w 10904803"/>
              <a:gd name="connsiteY5" fmla="*/ 1093273 h 1298909"/>
              <a:gd name="connsiteX6" fmla="*/ 288694 w 10904803"/>
              <a:gd name="connsiteY6" fmla="*/ 695 h 1298909"/>
              <a:gd name="connsiteX0" fmla="*/ 288694 w 10904803"/>
              <a:gd name="connsiteY0" fmla="*/ 671 h 1298885"/>
              <a:gd name="connsiteX1" fmla="*/ 7103662 w 10904803"/>
              <a:gd name="connsiteY1" fmla="*/ 469532 h 1298885"/>
              <a:gd name="connsiteX2" fmla="*/ 9883012 w 10904803"/>
              <a:gd name="connsiteY2" fmla="*/ 867804 h 1298885"/>
              <a:gd name="connsiteX3" fmla="*/ 10904803 w 10904803"/>
              <a:gd name="connsiteY3" fmla="*/ 1298885 h 1298885"/>
              <a:gd name="connsiteX4" fmla="*/ 0 w 10904803"/>
              <a:gd name="connsiteY4" fmla="*/ 1298885 h 1298885"/>
              <a:gd name="connsiteX5" fmla="*/ 1311 w 10904803"/>
              <a:gd name="connsiteY5" fmla="*/ 1093249 h 1298885"/>
              <a:gd name="connsiteX6" fmla="*/ 288694 w 10904803"/>
              <a:gd name="connsiteY6" fmla="*/ 671 h 1298885"/>
              <a:gd name="connsiteX0" fmla="*/ 288694 w 10904803"/>
              <a:gd name="connsiteY0" fmla="*/ 671 h 1298885"/>
              <a:gd name="connsiteX1" fmla="*/ 7103662 w 10904803"/>
              <a:gd name="connsiteY1" fmla="*/ 469532 h 1298885"/>
              <a:gd name="connsiteX2" fmla="*/ 9883012 w 10904803"/>
              <a:gd name="connsiteY2" fmla="*/ 867804 h 1298885"/>
              <a:gd name="connsiteX3" fmla="*/ 10904803 w 10904803"/>
              <a:gd name="connsiteY3" fmla="*/ 1298885 h 1298885"/>
              <a:gd name="connsiteX4" fmla="*/ 0 w 10904803"/>
              <a:gd name="connsiteY4" fmla="*/ 1298885 h 1298885"/>
              <a:gd name="connsiteX5" fmla="*/ 1311 w 10904803"/>
              <a:gd name="connsiteY5" fmla="*/ 1093249 h 1298885"/>
              <a:gd name="connsiteX6" fmla="*/ 288694 w 10904803"/>
              <a:gd name="connsiteY6" fmla="*/ 671 h 1298885"/>
              <a:gd name="connsiteX0" fmla="*/ 288694 w 10904803"/>
              <a:gd name="connsiteY0" fmla="*/ 3021 h 1301235"/>
              <a:gd name="connsiteX1" fmla="*/ 6781212 w 10904803"/>
              <a:gd name="connsiteY1" fmla="*/ 190529 h 1301235"/>
              <a:gd name="connsiteX2" fmla="*/ 9883012 w 10904803"/>
              <a:gd name="connsiteY2" fmla="*/ 870154 h 1301235"/>
              <a:gd name="connsiteX3" fmla="*/ 10904803 w 10904803"/>
              <a:gd name="connsiteY3" fmla="*/ 1301235 h 1301235"/>
              <a:gd name="connsiteX4" fmla="*/ 0 w 10904803"/>
              <a:gd name="connsiteY4" fmla="*/ 1301235 h 1301235"/>
              <a:gd name="connsiteX5" fmla="*/ 1311 w 10904803"/>
              <a:gd name="connsiteY5" fmla="*/ 1095599 h 1301235"/>
              <a:gd name="connsiteX6" fmla="*/ 288694 w 10904803"/>
              <a:gd name="connsiteY6" fmla="*/ 3021 h 1301235"/>
              <a:gd name="connsiteX0" fmla="*/ 1757324 w 10904803"/>
              <a:gd name="connsiteY0" fmla="*/ 2015 h 1349772"/>
              <a:gd name="connsiteX1" fmla="*/ 6781212 w 10904803"/>
              <a:gd name="connsiteY1" fmla="*/ 239066 h 1349772"/>
              <a:gd name="connsiteX2" fmla="*/ 9883012 w 10904803"/>
              <a:gd name="connsiteY2" fmla="*/ 918691 h 1349772"/>
              <a:gd name="connsiteX3" fmla="*/ 10904803 w 10904803"/>
              <a:gd name="connsiteY3" fmla="*/ 1349772 h 1349772"/>
              <a:gd name="connsiteX4" fmla="*/ 0 w 10904803"/>
              <a:gd name="connsiteY4" fmla="*/ 1349772 h 1349772"/>
              <a:gd name="connsiteX5" fmla="*/ 1311 w 10904803"/>
              <a:gd name="connsiteY5" fmla="*/ 1144136 h 1349772"/>
              <a:gd name="connsiteX6" fmla="*/ 1757324 w 10904803"/>
              <a:gd name="connsiteY6" fmla="*/ 2015 h 1349772"/>
              <a:gd name="connsiteX0" fmla="*/ 1757324 w 10904803"/>
              <a:gd name="connsiteY0" fmla="*/ 236854 h 1584611"/>
              <a:gd name="connsiteX1" fmla="*/ 6781212 w 10904803"/>
              <a:gd name="connsiteY1" fmla="*/ 473905 h 1584611"/>
              <a:gd name="connsiteX2" fmla="*/ 9883012 w 10904803"/>
              <a:gd name="connsiteY2" fmla="*/ 1153530 h 1584611"/>
              <a:gd name="connsiteX3" fmla="*/ 10904803 w 10904803"/>
              <a:gd name="connsiteY3" fmla="*/ 1584611 h 1584611"/>
              <a:gd name="connsiteX4" fmla="*/ 0 w 10904803"/>
              <a:gd name="connsiteY4" fmla="*/ 1584611 h 1584611"/>
              <a:gd name="connsiteX5" fmla="*/ 1311 w 10904803"/>
              <a:gd name="connsiteY5" fmla="*/ 1378975 h 1584611"/>
              <a:gd name="connsiteX6" fmla="*/ 1757324 w 10904803"/>
              <a:gd name="connsiteY6" fmla="*/ 236854 h 1584611"/>
              <a:gd name="connsiteX0" fmla="*/ 1757324 w 10904803"/>
              <a:gd name="connsiteY0" fmla="*/ 236854 h 1584611"/>
              <a:gd name="connsiteX1" fmla="*/ 6781212 w 10904803"/>
              <a:gd name="connsiteY1" fmla="*/ 473905 h 1584611"/>
              <a:gd name="connsiteX2" fmla="*/ 9883012 w 10904803"/>
              <a:gd name="connsiteY2" fmla="*/ 1153530 h 1584611"/>
              <a:gd name="connsiteX3" fmla="*/ 10904803 w 10904803"/>
              <a:gd name="connsiteY3" fmla="*/ 1584611 h 1584611"/>
              <a:gd name="connsiteX4" fmla="*/ 0 w 10904803"/>
              <a:gd name="connsiteY4" fmla="*/ 1584611 h 1584611"/>
              <a:gd name="connsiteX5" fmla="*/ 1311 w 10904803"/>
              <a:gd name="connsiteY5" fmla="*/ 1378975 h 1584611"/>
              <a:gd name="connsiteX6" fmla="*/ 1757324 w 10904803"/>
              <a:gd name="connsiteY6" fmla="*/ 236854 h 1584611"/>
              <a:gd name="connsiteX0" fmla="*/ 1757324 w 10904803"/>
              <a:gd name="connsiteY0" fmla="*/ 286458 h 1634215"/>
              <a:gd name="connsiteX1" fmla="*/ 6398967 w 10904803"/>
              <a:gd name="connsiteY1" fmla="*/ 325336 h 1634215"/>
              <a:gd name="connsiteX2" fmla="*/ 9883012 w 10904803"/>
              <a:gd name="connsiteY2" fmla="*/ 1203134 h 1634215"/>
              <a:gd name="connsiteX3" fmla="*/ 10904803 w 10904803"/>
              <a:gd name="connsiteY3" fmla="*/ 1634215 h 1634215"/>
              <a:gd name="connsiteX4" fmla="*/ 0 w 10904803"/>
              <a:gd name="connsiteY4" fmla="*/ 1634215 h 1634215"/>
              <a:gd name="connsiteX5" fmla="*/ 1311 w 10904803"/>
              <a:gd name="connsiteY5" fmla="*/ 1428579 h 1634215"/>
              <a:gd name="connsiteX6" fmla="*/ 1757324 w 10904803"/>
              <a:gd name="connsiteY6" fmla="*/ 286458 h 1634215"/>
              <a:gd name="connsiteX0" fmla="*/ 1757324 w 10904803"/>
              <a:gd name="connsiteY0" fmla="*/ 292768 h 1640525"/>
              <a:gd name="connsiteX1" fmla="*/ 6398967 w 10904803"/>
              <a:gd name="connsiteY1" fmla="*/ 331646 h 1640525"/>
              <a:gd name="connsiteX2" fmla="*/ 9883012 w 10904803"/>
              <a:gd name="connsiteY2" fmla="*/ 1209444 h 1640525"/>
              <a:gd name="connsiteX3" fmla="*/ 10904803 w 10904803"/>
              <a:gd name="connsiteY3" fmla="*/ 1640525 h 1640525"/>
              <a:gd name="connsiteX4" fmla="*/ 0 w 10904803"/>
              <a:gd name="connsiteY4" fmla="*/ 1640525 h 1640525"/>
              <a:gd name="connsiteX5" fmla="*/ 1311 w 10904803"/>
              <a:gd name="connsiteY5" fmla="*/ 1434889 h 1640525"/>
              <a:gd name="connsiteX6" fmla="*/ 1757324 w 10904803"/>
              <a:gd name="connsiteY6" fmla="*/ 292768 h 1640525"/>
              <a:gd name="connsiteX0" fmla="*/ 1757324 w 10904803"/>
              <a:gd name="connsiteY0" fmla="*/ 367567 h 1715324"/>
              <a:gd name="connsiteX1" fmla="*/ 6238021 w 10904803"/>
              <a:gd name="connsiteY1" fmla="*/ 208271 h 1715324"/>
              <a:gd name="connsiteX2" fmla="*/ 9883012 w 10904803"/>
              <a:gd name="connsiteY2" fmla="*/ 1284243 h 1715324"/>
              <a:gd name="connsiteX3" fmla="*/ 10904803 w 10904803"/>
              <a:gd name="connsiteY3" fmla="*/ 1715324 h 1715324"/>
              <a:gd name="connsiteX4" fmla="*/ 0 w 10904803"/>
              <a:gd name="connsiteY4" fmla="*/ 1715324 h 1715324"/>
              <a:gd name="connsiteX5" fmla="*/ 1311 w 10904803"/>
              <a:gd name="connsiteY5" fmla="*/ 1509688 h 1715324"/>
              <a:gd name="connsiteX6" fmla="*/ 1757324 w 10904803"/>
              <a:gd name="connsiteY6" fmla="*/ 367567 h 1715324"/>
              <a:gd name="connsiteX0" fmla="*/ 1757324 w 10904803"/>
              <a:gd name="connsiteY0" fmla="*/ 278174 h 1625931"/>
              <a:gd name="connsiteX1" fmla="*/ 6238021 w 10904803"/>
              <a:gd name="connsiteY1" fmla="*/ 118878 h 1625931"/>
              <a:gd name="connsiteX2" fmla="*/ 9883012 w 10904803"/>
              <a:gd name="connsiteY2" fmla="*/ 1194850 h 1625931"/>
              <a:gd name="connsiteX3" fmla="*/ 10904803 w 10904803"/>
              <a:gd name="connsiteY3" fmla="*/ 1625931 h 1625931"/>
              <a:gd name="connsiteX4" fmla="*/ 0 w 10904803"/>
              <a:gd name="connsiteY4" fmla="*/ 1625931 h 1625931"/>
              <a:gd name="connsiteX5" fmla="*/ 1311 w 10904803"/>
              <a:gd name="connsiteY5" fmla="*/ 1420295 h 1625931"/>
              <a:gd name="connsiteX6" fmla="*/ 1757324 w 10904803"/>
              <a:gd name="connsiteY6" fmla="*/ 278174 h 1625931"/>
              <a:gd name="connsiteX0" fmla="*/ 1757324 w 10904803"/>
              <a:gd name="connsiteY0" fmla="*/ 278174 h 1625931"/>
              <a:gd name="connsiteX1" fmla="*/ 6238021 w 10904803"/>
              <a:gd name="connsiteY1" fmla="*/ 118878 h 1625931"/>
              <a:gd name="connsiteX2" fmla="*/ 9883012 w 10904803"/>
              <a:gd name="connsiteY2" fmla="*/ 1194850 h 1625931"/>
              <a:gd name="connsiteX3" fmla="*/ 10904803 w 10904803"/>
              <a:gd name="connsiteY3" fmla="*/ 1625931 h 1625931"/>
              <a:gd name="connsiteX4" fmla="*/ 0 w 10904803"/>
              <a:gd name="connsiteY4" fmla="*/ 1625931 h 1625931"/>
              <a:gd name="connsiteX5" fmla="*/ 177557 w 10904803"/>
              <a:gd name="connsiteY5" fmla="*/ 971601 h 1625931"/>
              <a:gd name="connsiteX6" fmla="*/ 1757324 w 10904803"/>
              <a:gd name="connsiteY6" fmla="*/ 278174 h 1625931"/>
              <a:gd name="connsiteX0" fmla="*/ 1757324 w 10904803"/>
              <a:gd name="connsiteY0" fmla="*/ 278174 h 1625931"/>
              <a:gd name="connsiteX1" fmla="*/ 6238021 w 10904803"/>
              <a:gd name="connsiteY1" fmla="*/ 118878 h 1625931"/>
              <a:gd name="connsiteX2" fmla="*/ 9883012 w 10904803"/>
              <a:gd name="connsiteY2" fmla="*/ 1194850 h 1625931"/>
              <a:gd name="connsiteX3" fmla="*/ 10904803 w 10904803"/>
              <a:gd name="connsiteY3" fmla="*/ 1625931 h 1625931"/>
              <a:gd name="connsiteX4" fmla="*/ 0 w 10904803"/>
              <a:gd name="connsiteY4" fmla="*/ 1625931 h 1625931"/>
              <a:gd name="connsiteX5" fmla="*/ 177557 w 10904803"/>
              <a:gd name="connsiteY5" fmla="*/ 971601 h 1625931"/>
              <a:gd name="connsiteX6" fmla="*/ 1757324 w 10904803"/>
              <a:gd name="connsiteY6" fmla="*/ 278174 h 1625931"/>
              <a:gd name="connsiteX0" fmla="*/ 2304615 w 10904803"/>
              <a:gd name="connsiteY0" fmla="*/ 245214 h 1637841"/>
              <a:gd name="connsiteX1" fmla="*/ 6238021 w 10904803"/>
              <a:gd name="connsiteY1" fmla="*/ 130788 h 1637841"/>
              <a:gd name="connsiteX2" fmla="*/ 9883012 w 10904803"/>
              <a:gd name="connsiteY2" fmla="*/ 1206760 h 1637841"/>
              <a:gd name="connsiteX3" fmla="*/ 10904803 w 10904803"/>
              <a:gd name="connsiteY3" fmla="*/ 1637841 h 1637841"/>
              <a:gd name="connsiteX4" fmla="*/ 0 w 10904803"/>
              <a:gd name="connsiteY4" fmla="*/ 1637841 h 1637841"/>
              <a:gd name="connsiteX5" fmla="*/ 177557 w 10904803"/>
              <a:gd name="connsiteY5" fmla="*/ 983511 h 1637841"/>
              <a:gd name="connsiteX6" fmla="*/ 2304615 w 10904803"/>
              <a:gd name="connsiteY6" fmla="*/ 245214 h 1637841"/>
              <a:gd name="connsiteX0" fmla="*/ 2304615 w 10904803"/>
              <a:gd name="connsiteY0" fmla="*/ 245214 h 1637841"/>
              <a:gd name="connsiteX1" fmla="*/ 6238021 w 10904803"/>
              <a:gd name="connsiteY1" fmla="*/ 130788 h 1637841"/>
              <a:gd name="connsiteX2" fmla="*/ 9883012 w 10904803"/>
              <a:gd name="connsiteY2" fmla="*/ 1206760 h 1637841"/>
              <a:gd name="connsiteX3" fmla="*/ 10904803 w 10904803"/>
              <a:gd name="connsiteY3" fmla="*/ 1637841 h 1637841"/>
              <a:gd name="connsiteX4" fmla="*/ 0 w 10904803"/>
              <a:gd name="connsiteY4" fmla="*/ 1637841 h 1637841"/>
              <a:gd name="connsiteX5" fmla="*/ 1151548 w 10904803"/>
              <a:gd name="connsiteY5" fmla="*/ 781598 h 1637841"/>
              <a:gd name="connsiteX6" fmla="*/ 2304615 w 10904803"/>
              <a:gd name="connsiteY6" fmla="*/ 245214 h 1637841"/>
              <a:gd name="connsiteX0" fmla="*/ 2304615 w 10904803"/>
              <a:gd name="connsiteY0" fmla="*/ 245214 h 1637841"/>
              <a:gd name="connsiteX1" fmla="*/ 6238021 w 10904803"/>
              <a:gd name="connsiteY1" fmla="*/ 130788 h 1637841"/>
              <a:gd name="connsiteX2" fmla="*/ 9883012 w 10904803"/>
              <a:gd name="connsiteY2" fmla="*/ 1206760 h 1637841"/>
              <a:gd name="connsiteX3" fmla="*/ 10904803 w 10904803"/>
              <a:gd name="connsiteY3" fmla="*/ 1637841 h 1637841"/>
              <a:gd name="connsiteX4" fmla="*/ 0 w 10904803"/>
              <a:gd name="connsiteY4" fmla="*/ 1637841 h 1637841"/>
              <a:gd name="connsiteX5" fmla="*/ 1151548 w 10904803"/>
              <a:gd name="connsiteY5" fmla="*/ 781598 h 1637841"/>
              <a:gd name="connsiteX6" fmla="*/ 2304615 w 10904803"/>
              <a:gd name="connsiteY6" fmla="*/ 245214 h 1637841"/>
              <a:gd name="connsiteX0" fmla="*/ 2796249 w 10904803"/>
              <a:gd name="connsiteY0" fmla="*/ 216295 h 1676227"/>
              <a:gd name="connsiteX1" fmla="*/ 6238021 w 10904803"/>
              <a:gd name="connsiteY1" fmla="*/ 169174 h 1676227"/>
              <a:gd name="connsiteX2" fmla="*/ 9883012 w 10904803"/>
              <a:gd name="connsiteY2" fmla="*/ 1245146 h 1676227"/>
              <a:gd name="connsiteX3" fmla="*/ 10904803 w 10904803"/>
              <a:gd name="connsiteY3" fmla="*/ 1676227 h 1676227"/>
              <a:gd name="connsiteX4" fmla="*/ 0 w 10904803"/>
              <a:gd name="connsiteY4" fmla="*/ 1676227 h 1676227"/>
              <a:gd name="connsiteX5" fmla="*/ 1151548 w 10904803"/>
              <a:gd name="connsiteY5" fmla="*/ 819984 h 1676227"/>
              <a:gd name="connsiteX6" fmla="*/ 2796249 w 10904803"/>
              <a:gd name="connsiteY6" fmla="*/ 216295 h 1676227"/>
              <a:gd name="connsiteX0" fmla="*/ 2796249 w 10904803"/>
              <a:gd name="connsiteY0" fmla="*/ 225316 h 1685248"/>
              <a:gd name="connsiteX1" fmla="*/ 6238021 w 10904803"/>
              <a:gd name="connsiteY1" fmla="*/ 178195 h 1685248"/>
              <a:gd name="connsiteX2" fmla="*/ 9883012 w 10904803"/>
              <a:gd name="connsiteY2" fmla="*/ 1254167 h 1685248"/>
              <a:gd name="connsiteX3" fmla="*/ 10904803 w 10904803"/>
              <a:gd name="connsiteY3" fmla="*/ 1685248 h 1685248"/>
              <a:gd name="connsiteX4" fmla="*/ 0 w 10904803"/>
              <a:gd name="connsiteY4" fmla="*/ 1685248 h 1685248"/>
              <a:gd name="connsiteX5" fmla="*/ 1151548 w 10904803"/>
              <a:gd name="connsiteY5" fmla="*/ 829005 h 1685248"/>
              <a:gd name="connsiteX6" fmla="*/ 2796249 w 10904803"/>
              <a:gd name="connsiteY6" fmla="*/ 225316 h 1685248"/>
              <a:gd name="connsiteX0" fmla="*/ 2796249 w 10904803"/>
              <a:gd name="connsiteY0" fmla="*/ 225318 h 1685250"/>
              <a:gd name="connsiteX1" fmla="*/ 6238021 w 10904803"/>
              <a:gd name="connsiteY1" fmla="*/ 178197 h 1685250"/>
              <a:gd name="connsiteX2" fmla="*/ 9883012 w 10904803"/>
              <a:gd name="connsiteY2" fmla="*/ 1254169 h 1685250"/>
              <a:gd name="connsiteX3" fmla="*/ 10904803 w 10904803"/>
              <a:gd name="connsiteY3" fmla="*/ 1685250 h 1685250"/>
              <a:gd name="connsiteX4" fmla="*/ 0 w 10904803"/>
              <a:gd name="connsiteY4" fmla="*/ 1685250 h 1685250"/>
              <a:gd name="connsiteX5" fmla="*/ 1151548 w 10904803"/>
              <a:gd name="connsiteY5" fmla="*/ 829007 h 1685250"/>
              <a:gd name="connsiteX6" fmla="*/ 2796249 w 10904803"/>
              <a:gd name="connsiteY6" fmla="*/ 225318 h 1685250"/>
              <a:gd name="connsiteX0" fmla="*/ 2796249 w 10904803"/>
              <a:gd name="connsiteY0" fmla="*/ 177614 h 1637546"/>
              <a:gd name="connsiteX1" fmla="*/ 6238021 w 10904803"/>
              <a:gd name="connsiteY1" fmla="*/ 130493 h 1637546"/>
              <a:gd name="connsiteX2" fmla="*/ 9883012 w 10904803"/>
              <a:gd name="connsiteY2" fmla="*/ 1206465 h 1637546"/>
              <a:gd name="connsiteX3" fmla="*/ 10904803 w 10904803"/>
              <a:gd name="connsiteY3" fmla="*/ 1637546 h 1637546"/>
              <a:gd name="connsiteX4" fmla="*/ 0 w 10904803"/>
              <a:gd name="connsiteY4" fmla="*/ 1637546 h 1637546"/>
              <a:gd name="connsiteX5" fmla="*/ 1151548 w 10904803"/>
              <a:gd name="connsiteY5" fmla="*/ 781303 h 1637546"/>
              <a:gd name="connsiteX6" fmla="*/ 2796249 w 10904803"/>
              <a:gd name="connsiteY6" fmla="*/ 177614 h 1637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04803" h="1637546">
                <a:moveTo>
                  <a:pt x="2796249" y="177614"/>
                </a:moveTo>
                <a:cubicBezTo>
                  <a:pt x="5023405" y="-61282"/>
                  <a:pt x="5056894" y="-40982"/>
                  <a:pt x="6238021" y="130493"/>
                </a:cubicBezTo>
                <a:cubicBezTo>
                  <a:pt x="7419148" y="301968"/>
                  <a:pt x="9377646" y="1064252"/>
                  <a:pt x="9883012" y="1206465"/>
                </a:cubicBezTo>
                <a:lnTo>
                  <a:pt x="10904803" y="1637546"/>
                </a:lnTo>
                <a:lnTo>
                  <a:pt x="0" y="1637546"/>
                </a:lnTo>
                <a:lnTo>
                  <a:pt x="1151548" y="781303"/>
                </a:lnTo>
                <a:cubicBezTo>
                  <a:pt x="1812903" y="406623"/>
                  <a:pt x="1875043" y="413064"/>
                  <a:pt x="2796249" y="177614"/>
                </a:cubicBezTo>
                <a:close/>
              </a:path>
            </a:pathLst>
          </a:custGeom>
          <a:solidFill>
            <a:schemeClr val="bg1">
              <a:lumMod val="75000"/>
              <a:alpha val="6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0" tIns="25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600" dirty="0">
                <a:solidFill>
                  <a:schemeClr val="bg1"/>
                </a:solidFill>
                <a:latin typeface="+mj-lt"/>
              </a:rPr>
              <a:t>Setup novas </a:t>
            </a:r>
            <a:br>
              <a:rPr lang="pt-BR" sz="1600" dirty="0">
                <a:solidFill>
                  <a:schemeClr val="bg1"/>
                </a:solidFill>
                <a:latin typeface="+mj-lt"/>
              </a:rPr>
            </a:br>
            <a:r>
              <a:rPr lang="pt-BR" sz="1600" dirty="0">
                <a:solidFill>
                  <a:schemeClr val="bg1"/>
                </a:solidFill>
                <a:latin typeface="+mj-lt"/>
              </a:rPr>
              <a:t>competênci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DAF626-52A2-8B66-BC8C-23F8C2A370EF}"/>
              </a:ext>
            </a:extLst>
          </p:cNvPr>
          <p:cNvSpPr txBox="1"/>
          <p:nvPr/>
        </p:nvSpPr>
        <p:spPr>
          <a:xfrm>
            <a:off x="818431" y="2997822"/>
            <a:ext cx="1548135" cy="32316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pt-BR" sz="1050" cap="all" dirty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rPr>
              <a:t>IDENTIFICAÇÃO OPORTUNIDAD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2B96CB-DEC8-7A1D-273E-05034533E031}"/>
              </a:ext>
            </a:extLst>
          </p:cNvPr>
          <p:cNvSpPr txBox="1"/>
          <p:nvPr/>
        </p:nvSpPr>
        <p:spPr>
          <a:xfrm>
            <a:off x="2740352" y="2997822"/>
            <a:ext cx="1508312" cy="32316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pt-BR" sz="1050" cap="all" dirty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rPr>
              <a:t>Definição modelos futuro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99113D-8A08-4E2D-C243-FB4F1AA2B1C5}"/>
              </a:ext>
            </a:extLst>
          </p:cNvPr>
          <p:cNvSpPr txBox="1"/>
          <p:nvPr/>
        </p:nvSpPr>
        <p:spPr>
          <a:xfrm>
            <a:off x="4826373" y="2997822"/>
            <a:ext cx="1412841" cy="32316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pt-BR" sz="1050" cap="all" dirty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rPr>
              <a:t>ROADMAP E BUSINESS CASE</a:t>
            </a:r>
          </a:p>
        </p:txBody>
      </p:sp>
      <p:sp>
        <p:nvSpPr>
          <p:cNvPr id="13" name="Chevron 42">
            <a:extLst>
              <a:ext uri="{FF2B5EF4-FFF2-40B4-BE49-F238E27FC236}">
                <a16:creationId xmlns:a16="http://schemas.microsoft.com/office/drawing/2014/main" id="{B25467F4-0F38-4352-54D8-704A2B4B92CF}"/>
              </a:ext>
            </a:extLst>
          </p:cNvPr>
          <p:cNvSpPr/>
          <p:nvPr/>
        </p:nvSpPr>
        <p:spPr>
          <a:xfrm>
            <a:off x="2325123" y="2975775"/>
            <a:ext cx="142084" cy="367258"/>
          </a:xfrm>
          <a:prstGeom prst="chevron">
            <a:avLst/>
          </a:prstGeom>
          <a:solidFill>
            <a:srgbClr val="EC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Chevron 63">
            <a:extLst>
              <a:ext uri="{FF2B5EF4-FFF2-40B4-BE49-F238E27FC236}">
                <a16:creationId xmlns:a16="http://schemas.microsoft.com/office/drawing/2014/main" id="{6E500CC6-AA41-01B7-38E5-4CF52C3FB8D8}"/>
              </a:ext>
            </a:extLst>
          </p:cNvPr>
          <p:cNvSpPr/>
          <p:nvPr/>
        </p:nvSpPr>
        <p:spPr>
          <a:xfrm>
            <a:off x="4461219" y="2975775"/>
            <a:ext cx="142084" cy="367258"/>
          </a:xfrm>
          <a:prstGeom prst="chevron">
            <a:avLst/>
          </a:prstGeom>
          <a:solidFill>
            <a:srgbClr val="EC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6228BD1-9808-7DAB-41AC-D5BA6C4F2A59}"/>
              </a:ext>
            </a:extLst>
          </p:cNvPr>
          <p:cNvSpPr txBox="1"/>
          <p:nvPr/>
        </p:nvSpPr>
        <p:spPr>
          <a:xfrm rot="21383977">
            <a:off x="8447510" y="1952258"/>
            <a:ext cx="2677015" cy="16158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Ações para viabilizar a estratégia definid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4B14D1-4D4E-21DB-E58E-55850B1D3ECE}"/>
              </a:ext>
            </a:extLst>
          </p:cNvPr>
          <p:cNvSpPr txBox="1"/>
          <p:nvPr/>
        </p:nvSpPr>
        <p:spPr>
          <a:xfrm>
            <a:off x="825979" y="1808414"/>
            <a:ext cx="110940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r>
              <a:rPr lang="pt-BR" sz="800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Escopo desta proposta</a:t>
            </a:r>
          </a:p>
        </p:txBody>
      </p:sp>
      <p:sp>
        <p:nvSpPr>
          <p:cNvPr id="17" name="Freeform: Shape 91">
            <a:extLst>
              <a:ext uri="{FF2B5EF4-FFF2-40B4-BE49-F238E27FC236}">
                <a16:creationId xmlns:a16="http://schemas.microsoft.com/office/drawing/2014/main" id="{9212E8A7-47E9-9A98-8C20-B4D9E0E6925D}"/>
              </a:ext>
            </a:extLst>
          </p:cNvPr>
          <p:cNvSpPr/>
          <p:nvPr/>
        </p:nvSpPr>
        <p:spPr>
          <a:xfrm>
            <a:off x="7320654" y="3795196"/>
            <a:ext cx="4466452" cy="717866"/>
          </a:xfrm>
          <a:custGeom>
            <a:avLst/>
            <a:gdLst>
              <a:gd name="connsiteX0" fmla="*/ 0 w 7224008"/>
              <a:gd name="connsiteY0" fmla="*/ 0 h 301745"/>
              <a:gd name="connsiteX1" fmla="*/ 7224008 w 7224008"/>
              <a:gd name="connsiteY1" fmla="*/ 0 h 301745"/>
              <a:gd name="connsiteX2" fmla="*/ 7224008 w 7224008"/>
              <a:gd name="connsiteY2" fmla="*/ 301745 h 301745"/>
              <a:gd name="connsiteX3" fmla="*/ 1662615 w 7224008"/>
              <a:gd name="connsiteY3" fmla="*/ 301745 h 30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24008" h="301745">
                <a:moveTo>
                  <a:pt x="0" y="0"/>
                </a:moveTo>
                <a:lnTo>
                  <a:pt x="7224008" y="0"/>
                </a:lnTo>
                <a:lnTo>
                  <a:pt x="7224008" y="301745"/>
                </a:lnTo>
                <a:lnTo>
                  <a:pt x="1662615" y="301745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84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 defTabSz="457189"/>
            <a:r>
              <a:rPr lang="pt-BR" sz="1600" dirty="0">
                <a:solidFill>
                  <a:schemeClr val="bg1"/>
                </a:solidFill>
                <a:latin typeface="+mj-lt"/>
              </a:rPr>
              <a:t>Gestão Integrada</a:t>
            </a:r>
            <a:br>
              <a:rPr lang="pt-BR" sz="1100" dirty="0">
                <a:solidFill>
                  <a:schemeClr val="bg1"/>
                </a:solidFill>
                <a:latin typeface="+mj-lt"/>
              </a:rPr>
            </a:br>
            <a:r>
              <a:rPr lang="pt-BR" sz="1100" dirty="0">
                <a:solidFill>
                  <a:schemeClr val="bg1"/>
                </a:solidFill>
                <a:latin typeface="+mj-lt"/>
              </a:rPr>
              <a:t>(execução e valor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6E10AC-EF71-0838-C8BC-4DB2BC35CCCF}"/>
              </a:ext>
            </a:extLst>
          </p:cNvPr>
          <p:cNvSpPr txBox="1"/>
          <p:nvPr/>
        </p:nvSpPr>
        <p:spPr>
          <a:xfrm>
            <a:off x="706721" y="4207191"/>
            <a:ext cx="6384191" cy="297407"/>
          </a:xfrm>
          <a:prstGeom prst="rect">
            <a:avLst/>
          </a:prstGeom>
          <a:gradFill>
            <a:gsLst>
              <a:gs pos="8000">
                <a:schemeClr val="bg1"/>
              </a:gs>
              <a:gs pos="98000">
                <a:schemeClr val="accent1"/>
              </a:gs>
            </a:gsLst>
            <a:lin ang="10800000" scaled="0"/>
          </a:gradFill>
        </p:spPr>
        <p:txBody>
          <a:bodyPr vert="horz" wrap="none" lIns="144000" tIns="0" rIns="0" bIns="0" rtlCol="0" anchor="ctr">
            <a:noAutofit/>
          </a:bodyPr>
          <a:lstStyle/>
          <a:p>
            <a:r>
              <a:rPr lang="pt-BR" sz="1200" b="1" dirty="0">
                <a:solidFill>
                  <a:schemeClr val="bg1"/>
                </a:solidFill>
              </a:rPr>
              <a:t>Resultados esperados com o projeto</a:t>
            </a:r>
          </a:p>
        </p:txBody>
      </p:sp>
      <p:sp>
        <p:nvSpPr>
          <p:cNvPr id="19" name="Arrow: Striped Right 18">
            <a:extLst>
              <a:ext uri="{FF2B5EF4-FFF2-40B4-BE49-F238E27FC236}">
                <a16:creationId xmlns:a16="http://schemas.microsoft.com/office/drawing/2014/main" id="{AA00A010-3151-4F1E-1762-5011393971E3}"/>
              </a:ext>
            </a:extLst>
          </p:cNvPr>
          <p:cNvSpPr/>
          <p:nvPr/>
        </p:nvSpPr>
        <p:spPr>
          <a:xfrm>
            <a:off x="345016" y="1215205"/>
            <a:ext cx="11436414" cy="428065"/>
          </a:xfrm>
          <a:prstGeom prst="stripedRightArrow">
            <a:avLst/>
          </a:prstGeom>
          <a:gradFill flip="none" rotWithShape="1">
            <a:gsLst>
              <a:gs pos="3400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stratégia à execuçã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4AAED5-4E17-F3CC-8477-540F80320B6A}"/>
              </a:ext>
            </a:extLst>
          </p:cNvPr>
          <p:cNvSpPr txBox="1"/>
          <p:nvPr/>
        </p:nvSpPr>
        <p:spPr>
          <a:xfrm>
            <a:off x="963422" y="4772303"/>
            <a:ext cx="9696861" cy="1447213"/>
          </a:xfrm>
          <a:prstGeom prst="rect">
            <a:avLst/>
          </a:prstGeom>
          <a:noFill/>
        </p:spPr>
        <p:txBody>
          <a:bodyPr vert="horz" wrap="square" lIns="72000" tIns="72000" rIns="72000" bIns="72000" numCol="2" spcCol="180000" rtlCol="0" anchor="ctr">
            <a:noAutofit/>
          </a:bodyPr>
          <a:lstStyle/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pt-BR" sz="1050" b="1" dirty="0">
                <a:solidFill>
                  <a:schemeClr val="accent3"/>
                </a:solidFill>
              </a:rPr>
              <a:t>Benchmarks</a:t>
            </a:r>
            <a:r>
              <a:rPr lang="pt-BR" sz="1050" dirty="0">
                <a:solidFill>
                  <a:schemeClr val="accent3"/>
                </a:solidFill>
              </a:rPr>
              <a:t> sobre maturidade de tecnologia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3"/>
                </a:solidFill>
              </a:rPr>
              <a:t>Definição de potencial </a:t>
            </a:r>
            <a:r>
              <a:rPr lang="pt-BR" sz="1050" b="1" dirty="0">
                <a:solidFill>
                  <a:schemeClr val="accent3"/>
                </a:solidFill>
              </a:rPr>
              <a:t>impacto no negócio</a:t>
            </a:r>
            <a:r>
              <a:rPr lang="pt-BR" sz="1050" dirty="0">
                <a:solidFill>
                  <a:schemeClr val="accent3"/>
                </a:solidFill>
              </a:rPr>
              <a:t> com melhor tecnologia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3"/>
                </a:solidFill>
              </a:rPr>
              <a:t>Definição de </a:t>
            </a:r>
            <a:r>
              <a:rPr lang="pt-BR" sz="1050" b="1" dirty="0">
                <a:solidFill>
                  <a:schemeClr val="accent3"/>
                </a:solidFill>
              </a:rPr>
              <a:t>ambição</a:t>
            </a:r>
            <a:r>
              <a:rPr lang="pt-BR" sz="1050" dirty="0">
                <a:solidFill>
                  <a:schemeClr val="accent3"/>
                </a:solidFill>
              </a:rPr>
              <a:t> para evolução tecnológica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3"/>
                </a:solidFill>
              </a:rPr>
              <a:t>Mapeamento de </a:t>
            </a:r>
            <a:r>
              <a:rPr lang="pt-BR" sz="1050" b="1" dirty="0">
                <a:solidFill>
                  <a:schemeClr val="accent3"/>
                </a:solidFill>
              </a:rPr>
              <a:t>gaps em tecnologia</a:t>
            </a:r>
            <a:r>
              <a:rPr lang="pt-BR" sz="1050" dirty="0">
                <a:solidFill>
                  <a:schemeClr val="accent3"/>
                </a:solidFill>
              </a:rPr>
              <a:t> para atingir ambição</a:t>
            </a:r>
          </a:p>
          <a:p>
            <a:pPr marL="171450" indent="-1714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pt-BR" sz="1050" b="1" dirty="0">
                <a:solidFill>
                  <a:schemeClr val="accent3"/>
                </a:solidFill>
              </a:rPr>
              <a:t>Priorização</a:t>
            </a:r>
            <a:r>
              <a:rPr lang="pt-BR" sz="1050" dirty="0">
                <a:solidFill>
                  <a:schemeClr val="accent3"/>
                </a:solidFill>
              </a:rPr>
              <a:t> dos pontos de evolução mapeado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t-BR" sz="1050" dirty="0">
              <a:solidFill>
                <a:schemeClr val="accent3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050" b="1" dirty="0">
                <a:solidFill>
                  <a:schemeClr val="accent3"/>
                </a:solidFill>
              </a:rPr>
              <a:t>Desenho futuro</a:t>
            </a:r>
            <a:r>
              <a:rPr lang="pt-BR" sz="1050" dirty="0">
                <a:solidFill>
                  <a:schemeClr val="accent3"/>
                </a:solidFill>
              </a:rPr>
              <a:t> para endereçar os pontos de evolução priorizados</a:t>
            </a:r>
          </a:p>
          <a:p>
            <a:pPr marL="715002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050" b="1" dirty="0">
                <a:solidFill>
                  <a:schemeClr val="accent3"/>
                </a:solidFill>
              </a:rPr>
              <a:t>Arquitetura</a:t>
            </a:r>
            <a:r>
              <a:rPr lang="pt-BR" sz="1050" dirty="0">
                <a:solidFill>
                  <a:schemeClr val="accent3"/>
                </a:solidFill>
              </a:rPr>
              <a:t> nas visões: aplicacional, dados e segurança</a:t>
            </a:r>
          </a:p>
          <a:p>
            <a:pPr marL="715002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3"/>
                </a:solidFill>
              </a:rPr>
              <a:t>Modelo de </a:t>
            </a:r>
            <a:r>
              <a:rPr lang="pt-BR" sz="1050" b="1" dirty="0">
                <a:solidFill>
                  <a:schemeClr val="accent3"/>
                </a:solidFill>
              </a:rPr>
              <a:t>organização dos times</a:t>
            </a:r>
            <a:r>
              <a:rPr lang="pt-BR" sz="1050" dirty="0">
                <a:solidFill>
                  <a:schemeClr val="accent3"/>
                </a:solidFill>
              </a:rPr>
              <a:t> tecnologia</a:t>
            </a:r>
          </a:p>
          <a:p>
            <a:pPr marL="715002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050" b="1" dirty="0">
                <a:solidFill>
                  <a:schemeClr val="accent3"/>
                </a:solidFill>
              </a:rPr>
              <a:t>Governança, ritos e indicador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3"/>
                </a:solidFill>
              </a:rPr>
              <a:t>Definição de </a:t>
            </a:r>
            <a:r>
              <a:rPr lang="pt-BR" sz="1050" b="1" dirty="0">
                <a:solidFill>
                  <a:schemeClr val="accent3"/>
                </a:solidFill>
              </a:rPr>
              <a:t>roadmap</a:t>
            </a:r>
            <a:r>
              <a:rPr lang="pt-BR" sz="1050" dirty="0">
                <a:solidFill>
                  <a:schemeClr val="accent3"/>
                </a:solidFill>
              </a:rPr>
              <a:t> para implementação das evoluçõ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3"/>
                </a:solidFill>
              </a:rPr>
              <a:t>Estimativas de </a:t>
            </a:r>
            <a:r>
              <a:rPr lang="pt-BR" sz="1050" b="1" dirty="0">
                <a:solidFill>
                  <a:schemeClr val="accent3"/>
                </a:solidFill>
              </a:rPr>
              <a:t>custos e investimentos</a:t>
            </a:r>
            <a:r>
              <a:rPr lang="pt-BR" sz="1050" dirty="0">
                <a:solidFill>
                  <a:schemeClr val="accent3"/>
                </a:solidFill>
              </a:rPr>
              <a:t> para evoluções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26B200CD-C429-3110-F27E-2A9417951C18}"/>
              </a:ext>
            </a:extLst>
          </p:cNvPr>
          <p:cNvCxnSpPr>
            <a:endCxn id="23" idx="1"/>
          </p:cNvCxnSpPr>
          <p:nvPr/>
        </p:nvCxnSpPr>
        <p:spPr>
          <a:xfrm rot="16200000" flipH="1">
            <a:off x="-256464" y="4514138"/>
            <a:ext cx="1714950" cy="211422"/>
          </a:xfrm>
          <a:prstGeom prst="bentConnector2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047B42A1-A24C-AA36-6E87-44E4BDC1E935}"/>
              </a:ext>
            </a:extLst>
          </p:cNvPr>
          <p:cNvSpPr/>
          <p:nvPr/>
        </p:nvSpPr>
        <p:spPr>
          <a:xfrm>
            <a:off x="706722" y="6162270"/>
            <a:ext cx="9953561" cy="283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lhor experiência para cliente    </a:t>
            </a:r>
            <a:r>
              <a:rPr lang="pt-BR" sz="1200" dirty="0">
                <a:solidFill>
                  <a:schemeClr val="accent1"/>
                </a:solidFill>
              </a:rPr>
              <a:t>|   </a:t>
            </a:r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ior agilidade competitiva    </a:t>
            </a:r>
            <a:r>
              <a:rPr lang="pt-BR" sz="1200" dirty="0">
                <a:solidFill>
                  <a:schemeClr val="accent1"/>
                </a:solidFill>
              </a:rPr>
              <a:t>|   </a:t>
            </a:r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is resiliência  e eficiência operacional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5F7BED1-6B04-60B0-70F5-1B99F7853846}"/>
              </a:ext>
            </a:extLst>
          </p:cNvPr>
          <p:cNvSpPr/>
          <p:nvPr/>
        </p:nvSpPr>
        <p:spPr>
          <a:xfrm>
            <a:off x="706722" y="4505324"/>
            <a:ext cx="111709" cy="1944000"/>
          </a:xfrm>
          <a:prstGeom prst="rect">
            <a:avLst/>
          </a:prstGeom>
          <a:solidFill>
            <a:srgbClr val="8F29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03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159</Words>
  <Application>Microsoft Office PowerPoint</Application>
  <PresentationFormat>Widescreen</PresentationFormat>
  <Paragraphs>28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Graphik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1-01T00:0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